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51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50" r:id="rId1"/>
    <p:sldMasterId id="2147483841" r:id="rId2"/>
    <p:sldMasterId id="2147483911" r:id="rId3"/>
  </p:sldMasterIdLst>
  <p:notesMasterIdLst>
    <p:notesMasterId r:id="rId11"/>
  </p:notesMasterIdLst>
  <p:sldIdLst>
    <p:sldId id="256" r:id="rId4"/>
    <p:sldId id="2134805337" r:id="rId5"/>
    <p:sldId id="2134805338" r:id="rId6"/>
    <p:sldId id="2147473322" r:id="rId7"/>
    <p:sldId id="2147473324" r:id="rId8"/>
    <p:sldId id="2147473323" r:id="rId9"/>
    <p:sldId id="2134805283" r:id="rId10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1135"/>
    <a:srgbClr val="001D47"/>
    <a:srgbClr val="0A0908"/>
    <a:srgbClr val="FF8B10"/>
    <a:srgbClr val="666666"/>
    <a:srgbClr val="333333"/>
    <a:srgbClr val="FFFFFF"/>
    <a:srgbClr val="CCCCCC"/>
    <a:srgbClr val="FFFB00"/>
    <a:srgbClr val="FF315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964" autoAdjust="0"/>
    <p:restoredTop sz="94685" autoAdjust="0"/>
  </p:normalViewPr>
  <p:slideViewPr>
    <p:cSldViewPr snapToGrid="0">
      <p:cViewPr varScale="1">
        <p:scale>
          <a:sx n="83" d="100"/>
          <a:sy n="83" d="100"/>
        </p:scale>
        <p:origin x="940" y="5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4315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microsoft.com/office/2018/10/relationships/authors" Target="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5" Type="http://schemas.openxmlformats.org/officeDocument/2006/relationships/tableStyles" Target="tableStyle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F03831C-DEBA-4A3A-8C36-FD8115E217DA}" type="datetimeFigureOut">
              <a:rPr lang="en-US" smtClean="0"/>
              <a:t>5/24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8D4EF5B-ECC8-43EE-A509-D601DDF42A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51804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sv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sv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sv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sv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sv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.1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53D6A4B7-704E-AAAA-B16B-0F7877CA50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2CC8E39-9A4E-A4DF-F50E-11E2BDCAFF74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4684DA7-0D8A-B949-344B-2DA84CB93D5D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6E4F0CF6-F16F-8670-1980-E9ED719A0C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Nokia internal use</a:t>
            </a:r>
            <a:endParaRPr lang="en-US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70CBB6F-396D-9ECA-CB6B-537365B2E26A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587788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2.1 - Bullet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99" y="395946"/>
            <a:ext cx="378890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599" y="764520"/>
            <a:ext cx="378890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B55B4CC-0221-F230-3980-88D8952F693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0"/>
            <a:ext cx="4572001" cy="51435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6285CBB-8652-0F93-9BFF-BDE646DC15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7338" y="1260000"/>
            <a:ext cx="3788901" cy="329184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459A0509-67CF-F982-C358-C433F16CD8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972230E8-8C3E-FACC-BB83-0BEB16548E55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FFD06BD2-8C82-3A42-EA94-1DAD5F04366A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30DEAEC4-E0F3-9FCE-BAAF-FDB63BC5E6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Nokia internal use</a:t>
            </a:r>
            <a:endParaRPr lang="en-US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0CD3C9A-107F-22EC-1671-28C406CFCA7F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28130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2.2 - Bullet 2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B55B4CC-0221-F230-3980-88D8952F693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096000" y="0"/>
            <a:ext cx="6048000" cy="51435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459A0509-67CF-F982-C358-C433F16CD8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E5C0F96B-575B-3032-1D03-A5D0D7313FC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95946"/>
            <a:ext cx="240206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42">
            <a:extLst>
              <a:ext uri="{FF2B5EF4-FFF2-40B4-BE49-F238E27FC236}">
                <a16:creationId xmlns:a16="http://schemas.microsoft.com/office/drawing/2014/main" id="{171D37E4-D2E3-6D25-9C68-18D40EF22B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240206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235DB99C-EDCB-D6C3-2083-649EBE8505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7339" y="1260000"/>
            <a:ext cx="2402061" cy="329184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A434747-CAC6-E3AB-43A2-737599B9350F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F408B049-B5A6-319C-6604-4CB974379CE7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E6BE57E5-418C-3CAD-E431-901873F593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Nokia internal use</a:t>
            </a:r>
            <a:endParaRPr lang="en-US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39CB1E9-59D2-839A-658C-A23761FDC7C0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590158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2.3 - Bullet 1/2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51B0A98-E900-A313-EA54-FE650CDD9251}"/>
              </a:ext>
            </a:extLst>
          </p:cNvPr>
          <p:cNvSpPr/>
          <p:nvPr userDrawn="1"/>
        </p:nvSpPr>
        <p:spPr>
          <a:xfrm>
            <a:off x="4572000" y="0"/>
            <a:ext cx="4571999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endParaRPr lang="en-US" sz="1200" dirty="0">
              <a:solidFill>
                <a:schemeClr val="bg1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FC6622D9-8C8C-7A92-9836-8782F4AE73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D45B54C3-1D2D-9E4E-D404-A3087EA115C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99" y="395946"/>
            <a:ext cx="378890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9" name="Text Placeholder 42">
            <a:extLst>
              <a:ext uri="{FF2B5EF4-FFF2-40B4-BE49-F238E27FC236}">
                <a16:creationId xmlns:a16="http://schemas.microsoft.com/office/drawing/2014/main" id="{8941B831-C2DE-2572-4B83-66D9963A38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599" y="764520"/>
            <a:ext cx="378890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FB285814-4F22-732A-01D4-3A2D98D8E4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7338" y="1260000"/>
            <a:ext cx="3788901" cy="329184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1B2B362-2879-6819-D5A2-C7BE4DDA16A3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60008FED-F579-32FA-B396-B46F632C45F4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8639B8D9-7FD8-8F41-6E5A-1F2F111B9E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Nokia internal use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FFDCED2A-6F4B-B012-EFEA-A5A5D734636D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2553670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2.4 - Bullet 2/3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51B0A98-E900-A313-EA54-FE650CDD9251}"/>
              </a:ext>
            </a:extLst>
          </p:cNvPr>
          <p:cNvSpPr/>
          <p:nvPr userDrawn="1"/>
        </p:nvSpPr>
        <p:spPr>
          <a:xfrm>
            <a:off x="3096000" y="0"/>
            <a:ext cx="6048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endParaRPr lang="en-US" sz="1200" dirty="0">
              <a:solidFill>
                <a:schemeClr val="bg1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FC6622D9-8C8C-7A92-9836-8782F4AE73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D45B54C3-1D2D-9E4E-D404-A3087EA115C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95946"/>
            <a:ext cx="240206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42">
            <a:extLst>
              <a:ext uri="{FF2B5EF4-FFF2-40B4-BE49-F238E27FC236}">
                <a16:creationId xmlns:a16="http://schemas.microsoft.com/office/drawing/2014/main" id="{8941B831-C2DE-2572-4B83-66D9963A38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240206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FB285814-4F22-732A-01D4-3A2D98D8E4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7339" y="1260000"/>
            <a:ext cx="2402061" cy="329184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2932C8D-B957-1CF9-AF0A-C66A4B80B160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EDFF5BE1-C27A-DAF6-539C-BE7CFB3D3139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E2198C15-49FA-5DCF-088F-089A36BBE5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Nokia internal use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D153E126-16EC-5B6B-B79D-CDC812F5E8A7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298390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.1 - Blank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53D6A4B7-704E-AAAA-B16B-0F7877CA50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EFADF482-1182-15C3-2090-EF4C2A8F787E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B5714932-B041-C268-D37A-89265A6401E8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3D6BE398-80E2-C124-8939-1FA1DF0C10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Nokia internal use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B4D514C8-0DDA-7262-4109-EF26FA846FFD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2812222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.2 - Title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C39B26E-924A-E04C-205D-CC553972AE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B4D6E92B-62A5-89F1-C025-9AFA6FCB3323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F2BA0AE1-3EC1-6929-E965-9C60516B99D6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0" name="Footer Placeholder 2">
            <a:extLst>
              <a:ext uri="{FF2B5EF4-FFF2-40B4-BE49-F238E27FC236}">
                <a16:creationId xmlns:a16="http://schemas.microsoft.com/office/drawing/2014/main" id="{8CFFAAD9-97A5-7898-E5FF-36F481EB93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Nokia internal use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093800F5-E209-664D-A7E0-BF31501FE76F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464664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.3 - Tex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8308800" cy="31189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bg1"/>
                </a:solidFill>
              </a:defRPr>
            </a:lvl1pPr>
            <a:lvl2pPr marL="18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bg1"/>
                </a:solidFill>
              </a:defRPr>
            </a:lvl2pPr>
            <a:lvl3pPr marL="36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bg1"/>
                </a:solidFill>
              </a:defRPr>
            </a:lvl3pPr>
            <a:lvl4pPr marL="54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bg1"/>
                </a:solidFill>
              </a:defRPr>
            </a:lvl4pPr>
            <a:lvl5pPr marL="72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C50F010-1A3E-13CC-A34C-23E50F7D9E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6C224637-55EA-0423-7FB7-9D4C22E954CE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D086BFC4-A13A-A77F-C95D-F0B63E9FC799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1" name="Footer Placeholder 2">
            <a:extLst>
              <a:ext uri="{FF2B5EF4-FFF2-40B4-BE49-F238E27FC236}">
                <a16:creationId xmlns:a16="http://schemas.microsoft.com/office/drawing/2014/main" id="{38436AE6-E5BF-2964-DF91-2738015094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Nokia internal use</a:t>
            </a:r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B69E459F-FA2A-44D7-0042-B6749720C4A3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28895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.4 - 1xBulle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83088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9C4C436A-97D3-3C1B-0C95-441F1DF2F9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F2203B3C-B7BE-B5F0-A84C-BF4A2D307F86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ED0C98DE-3A96-2DE1-E80F-30D10A98054F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1" name="Footer Placeholder 2">
            <a:extLst>
              <a:ext uri="{FF2B5EF4-FFF2-40B4-BE49-F238E27FC236}">
                <a16:creationId xmlns:a16="http://schemas.microsoft.com/office/drawing/2014/main" id="{39872479-176B-250D-7009-2FACC846C8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Nokia internal use</a:t>
            </a:r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F5CA6AE9-CB4B-F137-356B-3F444DF521D4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88892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.5 - 2xBulle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4068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57FF8C70-8D9A-A91A-9AA2-5BAED4E556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58664" y="1260000"/>
            <a:ext cx="4068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437E9F8B-5B93-F909-6599-53CAB2225C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8BB2193-E2EE-013C-3734-26FE2B6F289C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94D6E453-33BB-3D1A-87F2-BF23E7DB064B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25631BE9-7C06-22AD-145E-78B1BD5F79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Nokia internal use</a:t>
            </a:r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41F63E7-7858-9E91-BACF-9FD1D77A74A8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6760025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.6 - 3xBulle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270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1BB609BD-442B-5330-C543-B4F748F8321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22000" y="1260000"/>
            <a:ext cx="270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E664E6E2-580B-C0EC-85A4-858E1F7656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26662" y="1260000"/>
            <a:ext cx="2697658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14635BF5-054A-3811-41D1-1B20FDF97FB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0B09C184-344B-3A37-4BC9-5F46DC81EA51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EA23E53E-BC8E-B2D9-8857-89A24EB07F95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3" name="Footer Placeholder 2">
            <a:extLst>
              <a:ext uri="{FF2B5EF4-FFF2-40B4-BE49-F238E27FC236}">
                <a16:creationId xmlns:a16="http://schemas.microsoft.com/office/drawing/2014/main" id="{E99784FE-D6A8-9580-1007-194EF43C8A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Nokia internal use</a:t>
            </a:r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6F9891C-F679-171D-0410-18138B8C177C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41724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.2 -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A88A15-3ABC-3274-AAF4-8A412DDB8F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B4AE9558-F65E-E57A-5394-E3FBBB881C02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792A02F9-A52E-683F-E045-1AFEBB2E5516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2949A3C7-28A6-58FC-0E18-DC956F4648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Nokia internal use</a:t>
            </a:r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BE0D581-C1F6-D532-2C81-71B58C252B43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92066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.7 - 4xBulle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1BB609BD-442B-5330-C543-B4F748F8321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26332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E664E6E2-580B-C0EC-85A4-858E1F7656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35326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9C0B71B1-8B5E-9FD1-A1AD-D5AD8A665FF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744320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AD49FC51-3DDE-4079-644A-F3FAEB0DC4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3F8C1C72-A585-7ED5-651B-B528B3970818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D3FAF429-6C3E-019C-0537-840220A5BF93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4" name="Footer Placeholder 2">
            <a:extLst>
              <a:ext uri="{FF2B5EF4-FFF2-40B4-BE49-F238E27FC236}">
                <a16:creationId xmlns:a16="http://schemas.microsoft.com/office/drawing/2014/main" id="{14C8B806-8FC3-E969-CBCA-FAFFE8971D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Nokia internal use</a:t>
            </a:r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4CB7D39-8685-8AB5-351E-6B19EEB4BBDA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431279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.8 - Numbered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427494-DD66-A478-7CF6-11C578BC21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600" y="1260000"/>
            <a:ext cx="8308800" cy="3118980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200">
                <a:solidFill>
                  <a:schemeClr val="bg1"/>
                </a:solidFill>
              </a:defRPr>
            </a:lvl1pPr>
            <a:lvl2pPr marL="40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2"/>
              <a:defRPr sz="1200">
                <a:solidFill>
                  <a:schemeClr val="bg1"/>
                </a:solidFill>
              </a:defRPr>
            </a:lvl2pPr>
            <a:lvl3pPr marL="58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3"/>
              <a:defRPr sz="1200">
                <a:solidFill>
                  <a:schemeClr val="bg1"/>
                </a:solidFill>
              </a:defRPr>
            </a:lvl3pPr>
            <a:lvl4pPr marL="76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4"/>
              <a:defRPr sz="1200">
                <a:solidFill>
                  <a:schemeClr val="bg1"/>
                </a:solidFill>
              </a:defRPr>
            </a:lvl4pPr>
            <a:lvl5pPr marL="95715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5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 here</a:t>
            </a:r>
          </a:p>
          <a:p>
            <a:pPr lvl="1"/>
            <a:r>
              <a:rPr lang="en-US" dirty="0"/>
              <a:t>Text here</a:t>
            </a:r>
          </a:p>
          <a:p>
            <a:pPr lvl="2"/>
            <a:r>
              <a:rPr lang="en-US" dirty="0"/>
              <a:t>Text here</a:t>
            </a:r>
          </a:p>
          <a:p>
            <a:pPr lvl="3"/>
            <a:r>
              <a:rPr lang="en-US" dirty="0"/>
              <a:t>Text here</a:t>
            </a:r>
          </a:p>
          <a:p>
            <a:pPr marL="957150" marR="0" lvl="4" indent="-2286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tabLst/>
              <a:defRPr/>
            </a:pPr>
            <a:r>
              <a:rPr lang="en-US" dirty="0"/>
              <a:t>Text her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AF7ADEE1-F63C-492E-6243-826D5239E9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128DC97F-4D64-0DED-88CD-EE02622DD1AB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36AADFB0-EF58-B66F-9E2F-35B8CE845DFC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1" name="Footer Placeholder 2">
            <a:extLst>
              <a:ext uri="{FF2B5EF4-FFF2-40B4-BE49-F238E27FC236}">
                <a16:creationId xmlns:a16="http://schemas.microsoft.com/office/drawing/2014/main" id="{B5E01CE8-3A1A-97F6-CB42-2A7B7096CA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Nokia internal use</a:t>
            </a:r>
            <a:endParaRPr lang="en-US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22FC401-1AA8-2464-8D1C-AB4CBBB237B3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156398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.9 - Title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4B403941-CFEA-9A2F-6625-4961A6C63DB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400" baseline="0">
                <a:solidFill>
                  <a:schemeClr val="bg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8751E31D-7B4F-D8BB-1E48-D88EA581DC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CFD536D-56F0-6B89-4E85-90A6E969D32B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A2A18FDE-17E4-A96B-C3EE-A77EEBA83E23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9" name="Footer Placeholder 2">
            <a:extLst>
              <a:ext uri="{FF2B5EF4-FFF2-40B4-BE49-F238E27FC236}">
                <a16:creationId xmlns:a16="http://schemas.microsoft.com/office/drawing/2014/main" id="{A39C322E-4A8A-CA2E-DBCD-97DA4FDE15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Nokia internal use</a:t>
            </a:r>
            <a:endParaRPr lang="en-US" dirty="0"/>
          </a:p>
        </p:txBody>
      </p:sp>
      <p:sp>
        <p:nvSpPr>
          <p:cNvPr id="21" name="Text Placeholder 42">
            <a:extLst>
              <a:ext uri="{FF2B5EF4-FFF2-40B4-BE49-F238E27FC236}">
                <a16:creationId xmlns:a16="http://schemas.microsoft.com/office/drawing/2014/main" id="{B3D3C671-29A5-6951-28E5-A58089FE5D4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161471"/>
            <a:ext cx="8308800" cy="11084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aseline="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466B2A9F-7428-9787-9456-2476EC7471B1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3392012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4.1 - Cover N BlueGreen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ackground pattern&#10;&#10;Description automatically generated">
            <a:extLst>
              <a:ext uri="{FF2B5EF4-FFF2-40B4-BE49-F238E27FC236}">
                <a16:creationId xmlns:a16="http://schemas.microsoft.com/office/drawing/2014/main" id="{A97BECFD-8EA7-0689-338E-FF79734814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B8976C7B-2688-70F3-77A4-4D1113FB54E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5144400" cy="5144400"/>
          </a:xfrm>
          <a:prstGeom prst="rect">
            <a:avLst/>
          </a:prstGeom>
        </p:spPr>
      </p:pic>
      <p:sp>
        <p:nvSpPr>
          <p:cNvPr id="2" name="Title 4">
            <a:extLst>
              <a:ext uri="{FF2B5EF4-FFF2-40B4-BE49-F238E27FC236}">
                <a16:creationId xmlns:a16="http://schemas.microsoft.com/office/drawing/2014/main" id="{FCA7DC03-F552-0867-352F-D9703C6058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2671" y="701061"/>
            <a:ext cx="3433727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 dirty="0"/>
              <a:t>Presentation</a:t>
            </a:r>
            <a:br>
              <a:rPr lang="en-GB" dirty="0"/>
            </a:br>
            <a:r>
              <a:rPr lang="en-GB" dirty="0"/>
              <a:t>Title (2 lines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95DCB03-B7A1-6B00-BC51-6A2712B64A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92671" y="2126098"/>
            <a:ext cx="3433727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Subtitle/Author</a:t>
            </a:r>
          </a:p>
        </p:txBody>
      </p:sp>
      <p:grpSp>
        <p:nvGrpSpPr>
          <p:cNvPr id="10" name="Graphic 3">
            <a:extLst>
              <a:ext uri="{FF2B5EF4-FFF2-40B4-BE49-F238E27FC236}">
                <a16:creationId xmlns:a16="http://schemas.microsoft.com/office/drawing/2014/main" id="{49D9392C-9E29-427F-3C29-C64146E898C7}"/>
              </a:ext>
            </a:extLst>
          </p:cNvPr>
          <p:cNvGrpSpPr/>
          <p:nvPr userDrawn="1"/>
        </p:nvGrpSpPr>
        <p:grpSpPr>
          <a:xfrm>
            <a:off x="1237478" y="4482674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86483177-9ABF-3F5C-ED1D-16C01EEE37C3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97C96119-D9F7-8022-5694-A13E7950B525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3" name="Freeform 35">
              <a:extLst>
                <a:ext uri="{FF2B5EF4-FFF2-40B4-BE49-F238E27FC236}">
                  <a16:creationId xmlns:a16="http://schemas.microsoft.com/office/drawing/2014/main" id="{247CB589-C660-36A6-BF29-1327034A9815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4" name="Freeform 36">
              <a:extLst>
                <a:ext uri="{FF2B5EF4-FFF2-40B4-BE49-F238E27FC236}">
                  <a16:creationId xmlns:a16="http://schemas.microsoft.com/office/drawing/2014/main" id="{2B915696-0B26-9206-B2E7-93708805BDBC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5" name="Freeform 37">
              <a:extLst>
                <a:ext uri="{FF2B5EF4-FFF2-40B4-BE49-F238E27FC236}">
                  <a16:creationId xmlns:a16="http://schemas.microsoft.com/office/drawing/2014/main" id="{AA3A0836-5277-7254-E598-6DE9FA1A526D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659763D9-588F-2473-91CB-B8C347B72189}"/>
              </a:ext>
            </a:extLst>
          </p:cNvPr>
          <p:cNvSpPr txBox="1"/>
          <p:nvPr userDrawn="1"/>
        </p:nvSpPr>
        <p:spPr>
          <a:xfrm>
            <a:off x="5553597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3FCDC52-0E62-A2F4-0387-BFC107C7F663}"/>
              </a:ext>
            </a:extLst>
          </p:cNvPr>
          <p:cNvSpPr txBox="1">
            <a:spLocks/>
          </p:cNvSpPr>
          <p:nvPr userDrawn="1"/>
        </p:nvSpPr>
        <p:spPr>
          <a:xfrm>
            <a:off x="5292671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753EC447-D430-EA30-E1F1-75D2164321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78179" y="4858555"/>
            <a:ext cx="2592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Nokia internal use</a:t>
            </a:r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C6FED7A-2E54-8D43-8732-46FB9027DB7B}"/>
              </a:ext>
            </a:extLst>
          </p:cNvPr>
          <p:cNvCxnSpPr>
            <a:cxnSpLocks/>
          </p:cNvCxnSpPr>
          <p:nvPr userDrawn="1"/>
        </p:nvCxnSpPr>
        <p:spPr>
          <a:xfrm>
            <a:off x="6278509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5096335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4.2 - Cover N PurpleBlu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Background pattern&#10;&#10;Description automatically generated">
            <a:extLst>
              <a:ext uri="{FF2B5EF4-FFF2-40B4-BE49-F238E27FC236}">
                <a16:creationId xmlns:a16="http://schemas.microsoft.com/office/drawing/2014/main" id="{81E104F6-2E1E-CFDD-A69D-C115384F15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0E27FD93-255E-C585-12C2-E99681C9BE5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-901"/>
            <a:ext cx="5144400" cy="5144400"/>
          </a:xfrm>
          <a:prstGeom prst="rect">
            <a:avLst/>
          </a:prstGeom>
        </p:spPr>
      </p:pic>
      <p:sp>
        <p:nvSpPr>
          <p:cNvPr id="11" name="Title 4">
            <a:extLst>
              <a:ext uri="{FF2B5EF4-FFF2-40B4-BE49-F238E27FC236}">
                <a16:creationId xmlns:a16="http://schemas.microsoft.com/office/drawing/2014/main" id="{59E922F0-08F0-9919-8C26-CE716C3AE5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2671" y="701061"/>
            <a:ext cx="3433727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 dirty="0"/>
              <a:t>Presentation</a:t>
            </a:r>
            <a:br>
              <a:rPr lang="en-GB" dirty="0"/>
            </a:br>
            <a:r>
              <a:rPr lang="en-GB" dirty="0"/>
              <a:t>Title (2 lines)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FDF29A45-EE41-3151-6F22-1274BFD4DDD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92671" y="2126098"/>
            <a:ext cx="3433727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Subtitle/Author</a:t>
            </a:r>
          </a:p>
        </p:txBody>
      </p:sp>
      <p:grpSp>
        <p:nvGrpSpPr>
          <p:cNvPr id="7" name="Graphic 3">
            <a:extLst>
              <a:ext uri="{FF2B5EF4-FFF2-40B4-BE49-F238E27FC236}">
                <a16:creationId xmlns:a16="http://schemas.microsoft.com/office/drawing/2014/main" id="{AC803887-2AFC-DF73-DE60-1BE27DDE158C}"/>
              </a:ext>
            </a:extLst>
          </p:cNvPr>
          <p:cNvGrpSpPr/>
          <p:nvPr userDrawn="1"/>
        </p:nvGrpSpPr>
        <p:grpSpPr>
          <a:xfrm>
            <a:off x="1237478" y="4482674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8" name="Freeform 33">
              <a:extLst>
                <a:ext uri="{FF2B5EF4-FFF2-40B4-BE49-F238E27FC236}">
                  <a16:creationId xmlns:a16="http://schemas.microsoft.com/office/drawing/2014/main" id="{FB007C44-CA5E-747F-537B-FA8B422F6EF5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9" name="Freeform 34">
              <a:extLst>
                <a:ext uri="{FF2B5EF4-FFF2-40B4-BE49-F238E27FC236}">
                  <a16:creationId xmlns:a16="http://schemas.microsoft.com/office/drawing/2014/main" id="{ACD5E94E-82F7-2222-8DA7-BF2F4217D471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3" name="Freeform 35">
              <a:extLst>
                <a:ext uri="{FF2B5EF4-FFF2-40B4-BE49-F238E27FC236}">
                  <a16:creationId xmlns:a16="http://schemas.microsoft.com/office/drawing/2014/main" id="{3422F086-3538-B59C-A13B-E07C6B180720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4" name="Freeform 36">
              <a:extLst>
                <a:ext uri="{FF2B5EF4-FFF2-40B4-BE49-F238E27FC236}">
                  <a16:creationId xmlns:a16="http://schemas.microsoft.com/office/drawing/2014/main" id="{64270631-5CE7-99C0-6E82-FDECFC1D3634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5" name="Freeform 37">
              <a:extLst>
                <a:ext uri="{FF2B5EF4-FFF2-40B4-BE49-F238E27FC236}">
                  <a16:creationId xmlns:a16="http://schemas.microsoft.com/office/drawing/2014/main" id="{AEC4CD95-FA07-887B-3375-C4368A44AF15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77E65701-8704-DC44-7F06-7957F6D50DDE}"/>
              </a:ext>
            </a:extLst>
          </p:cNvPr>
          <p:cNvSpPr txBox="1"/>
          <p:nvPr userDrawn="1"/>
        </p:nvSpPr>
        <p:spPr>
          <a:xfrm>
            <a:off x="5553597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B0CCF65E-F2C0-F179-6CEF-6926AE13A1AD}"/>
              </a:ext>
            </a:extLst>
          </p:cNvPr>
          <p:cNvSpPr txBox="1">
            <a:spLocks/>
          </p:cNvSpPr>
          <p:nvPr userDrawn="1"/>
        </p:nvSpPr>
        <p:spPr>
          <a:xfrm>
            <a:off x="5292671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4148E0E7-D605-6CB3-E2A2-9F865D08BD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78179" y="4858555"/>
            <a:ext cx="2592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Nokia internal use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F0704DB9-88C7-16A3-4EB3-53EDBBBBED99}"/>
              </a:ext>
            </a:extLst>
          </p:cNvPr>
          <p:cNvCxnSpPr>
            <a:cxnSpLocks/>
          </p:cNvCxnSpPr>
          <p:nvPr userDrawn="1"/>
        </p:nvCxnSpPr>
        <p:spPr>
          <a:xfrm>
            <a:off x="6278509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1097345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4.3 - Cover N Pink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1C7D16BB-9265-7D3A-E136-8F028A9F86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A7536232-7B28-DCFA-37A3-EEBA7365A53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5144400" cy="5144400"/>
          </a:xfrm>
          <a:prstGeom prst="rect">
            <a:avLst/>
          </a:prstGeom>
        </p:spPr>
      </p:pic>
      <p:sp>
        <p:nvSpPr>
          <p:cNvPr id="9" name="Title 4">
            <a:extLst>
              <a:ext uri="{FF2B5EF4-FFF2-40B4-BE49-F238E27FC236}">
                <a16:creationId xmlns:a16="http://schemas.microsoft.com/office/drawing/2014/main" id="{44BBE444-2A25-873F-1D05-3ED543575B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2671" y="701061"/>
            <a:ext cx="3433727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 dirty="0"/>
              <a:t>Presentation</a:t>
            </a:r>
            <a:br>
              <a:rPr lang="en-GB" dirty="0"/>
            </a:br>
            <a:r>
              <a:rPr lang="en-GB" dirty="0"/>
              <a:t>Title (2 lines)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1CE0441B-626C-B0BA-7F19-6E6E187E9F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92671" y="2126098"/>
            <a:ext cx="3433727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Subtitle/Author</a:t>
            </a:r>
          </a:p>
        </p:txBody>
      </p:sp>
      <p:grpSp>
        <p:nvGrpSpPr>
          <p:cNvPr id="12" name="Graphic 3">
            <a:extLst>
              <a:ext uri="{FF2B5EF4-FFF2-40B4-BE49-F238E27FC236}">
                <a16:creationId xmlns:a16="http://schemas.microsoft.com/office/drawing/2014/main" id="{BBCFFB55-AEE0-B60F-9245-9C27632712D3}"/>
              </a:ext>
            </a:extLst>
          </p:cNvPr>
          <p:cNvGrpSpPr/>
          <p:nvPr userDrawn="1"/>
        </p:nvGrpSpPr>
        <p:grpSpPr>
          <a:xfrm>
            <a:off x="1237478" y="4482674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13" name="Freeform 33">
              <a:extLst>
                <a:ext uri="{FF2B5EF4-FFF2-40B4-BE49-F238E27FC236}">
                  <a16:creationId xmlns:a16="http://schemas.microsoft.com/office/drawing/2014/main" id="{488E8824-AD70-39E9-BE21-40A428AA1642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4" name="Freeform 34">
              <a:extLst>
                <a:ext uri="{FF2B5EF4-FFF2-40B4-BE49-F238E27FC236}">
                  <a16:creationId xmlns:a16="http://schemas.microsoft.com/office/drawing/2014/main" id="{CAC7C88C-6569-86EB-A912-A81A3D3D3239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5" name="Freeform 35">
              <a:extLst>
                <a:ext uri="{FF2B5EF4-FFF2-40B4-BE49-F238E27FC236}">
                  <a16:creationId xmlns:a16="http://schemas.microsoft.com/office/drawing/2014/main" id="{631B0B37-63CB-7184-5451-7161305EE5DD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6" name="Freeform 36">
              <a:extLst>
                <a:ext uri="{FF2B5EF4-FFF2-40B4-BE49-F238E27FC236}">
                  <a16:creationId xmlns:a16="http://schemas.microsoft.com/office/drawing/2014/main" id="{7CABF032-2DB3-FBD2-FA1D-C42334098181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7" name="Freeform 37">
              <a:extLst>
                <a:ext uri="{FF2B5EF4-FFF2-40B4-BE49-F238E27FC236}">
                  <a16:creationId xmlns:a16="http://schemas.microsoft.com/office/drawing/2014/main" id="{93CE2008-A2FB-AA6A-EE55-3A2E2A885720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3B531529-C0C1-501F-B90B-E578B26E0D98}"/>
              </a:ext>
            </a:extLst>
          </p:cNvPr>
          <p:cNvSpPr txBox="1"/>
          <p:nvPr userDrawn="1"/>
        </p:nvSpPr>
        <p:spPr>
          <a:xfrm>
            <a:off x="5553597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40C94059-F7F6-293D-88B1-A0CCDDB75575}"/>
              </a:ext>
            </a:extLst>
          </p:cNvPr>
          <p:cNvSpPr txBox="1">
            <a:spLocks/>
          </p:cNvSpPr>
          <p:nvPr userDrawn="1"/>
        </p:nvSpPr>
        <p:spPr>
          <a:xfrm>
            <a:off x="5292671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98343E1B-0BDB-6D7F-D5F6-35E72B8B25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78179" y="4858555"/>
            <a:ext cx="2592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Nokia internal use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E6A5F513-FF52-40DD-1058-E3394F1442C6}"/>
              </a:ext>
            </a:extLst>
          </p:cNvPr>
          <p:cNvCxnSpPr>
            <a:cxnSpLocks/>
          </p:cNvCxnSpPr>
          <p:nvPr userDrawn="1"/>
        </p:nvCxnSpPr>
        <p:spPr>
          <a:xfrm>
            <a:off x="6278509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481593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4.4 - Cover 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: Shape 3">
            <a:extLst>
              <a:ext uri="{FF2B5EF4-FFF2-40B4-BE49-F238E27FC236}">
                <a16:creationId xmlns:a16="http://schemas.microsoft.com/office/drawing/2014/main" id="{674FB718-4590-313D-1532-FE817A22ACB4}"/>
              </a:ext>
            </a:extLst>
          </p:cNvPr>
          <p:cNvSpPr/>
          <p:nvPr/>
        </p:nvSpPr>
        <p:spPr>
          <a:xfrm>
            <a:off x="0" y="0"/>
            <a:ext cx="5144400" cy="5144400"/>
          </a:xfrm>
          <a:custGeom>
            <a:avLst/>
            <a:gdLst>
              <a:gd name="connsiteX0" fmla="*/ 0 w 5144400"/>
              <a:gd name="connsiteY0" fmla="*/ 0 h 5144400"/>
              <a:gd name="connsiteX1" fmla="*/ 5144400 w 5144400"/>
              <a:gd name="connsiteY1" fmla="*/ 0 h 5144400"/>
              <a:gd name="connsiteX2" fmla="*/ 5144400 w 5144400"/>
              <a:gd name="connsiteY2" fmla="*/ 5144400 h 5144400"/>
              <a:gd name="connsiteX3" fmla="*/ 0 w 5144400"/>
              <a:gd name="connsiteY3" fmla="*/ 5144400 h 514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44400" h="5144400">
                <a:moveTo>
                  <a:pt x="0" y="0"/>
                </a:moveTo>
                <a:lnTo>
                  <a:pt x="5144400" y="0"/>
                </a:lnTo>
                <a:lnTo>
                  <a:pt x="5144400" y="5144400"/>
                </a:lnTo>
                <a:lnTo>
                  <a:pt x="0" y="5144400"/>
                </a:lnTo>
                <a:close/>
              </a:path>
            </a:pathLst>
          </a:custGeom>
          <a:noFill/>
          <a:ln w="267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6585F427-7AA2-BA79-9FAB-3B20B348D66A}"/>
              </a:ext>
            </a:extLst>
          </p:cNvPr>
          <p:cNvSpPr/>
          <p:nvPr/>
        </p:nvSpPr>
        <p:spPr>
          <a:xfrm>
            <a:off x="0" y="0"/>
            <a:ext cx="5144400" cy="5144400"/>
          </a:xfrm>
          <a:custGeom>
            <a:avLst/>
            <a:gdLst>
              <a:gd name="connsiteX0" fmla="*/ 0 w 5144400"/>
              <a:gd name="connsiteY0" fmla="*/ 0 h 5144400"/>
              <a:gd name="connsiteX1" fmla="*/ 0 w 5144400"/>
              <a:gd name="connsiteY1" fmla="*/ 5144400 h 5144400"/>
              <a:gd name="connsiteX2" fmla="*/ 794971 w 5144400"/>
              <a:gd name="connsiteY2" fmla="*/ 5144400 h 5144400"/>
              <a:gd name="connsiteX3" fmla="*/ 794971 w 5144400"/>
              <a:gd name="connsiteY3" fmla="*/ 1741594 h 5144400"/>
              <a:gd name="connsiteX4" fmla="*/ 5144400 w 5144400"/>
              <a:gd name="connsiteY4" fmla="*/ 5144400 h 5144400"/>
              <a:gd name="connsiteX5" fmla="*/ 5144400 w 5144400"/>
              <a:gd name="connsiteY5" fmla="*/ 4142850 h 5144400"/>
              <a:gd name="connsiteX6" fmla="*/ 0 w 5144400"/>
              <a:gd name="connsiteY6" fmla="*/ 0 h 514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144400" h="5144400">
                <a:moveTo>
                  <a:pt x="0" y="0"/>
                </a:moveTo>
                <a:lnTo>
                  <a:pt x="0" y="5144400"/>
                </a:lnTo>
                <a:cubicBezTo>
                  <a:pt x="0" y="5144400"/>
                  <a:pt x="794971" y="5144400"/>
                  <a:pt x="794971" y="5144400"/>
                </a:cubicBezTo>
                <a:lnTo>
                  <a:pt x="794971" y="1741594"/>
                </a:lnTo>
                <a:cubicBezTo>
                  <a:pt x="794971" y="1741594"/>
                  <a:pt x="5144400" y="5144400"/>
                  <a:pt x="5144400" y="5144400"/>
                </a:cubicBezTo>
                <a:lnTo>
                  <a:pt x="5144400" y="41428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267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" name="Title 4">
            <a:extLst>
              <a:ext uri="{FF2B5EF4-FFF2-40B4-BE49-F238E27FC236}">
                <a16:creationId xmlns:a16="http://schemas.microsoft.com/office/drawing/2014/main" id="{44BBE444-2A25-873F-1D05-3ED543575B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2671" y="701061"/>
            <a:ext cx="3433727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 dirty="0"/>
              <a:t>Presentation</a:t>
            </a:r>
            <a:br>
              <a:rPr lang="en-GB" dirty="0"/>
            </a:br>
            <a:r>
              <a:rPr lang="en-GB" dirty="0"/>
              <a:t>Title (2 lines)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1CE0441B-626C-B0BA-7F19-6E6E187E9F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92671" y="2126098"/>
            <a:ext cx="3433727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Subtitle/Author</a:t>
            </a:r>
          </a:p>
        </p:txBody>
      </p:sp>
      <p:grpSp>
        <p:nvGrpSpPr>
          <p:cNvPr id="12" name="Graphic 3">
            <a:extLst>
              <a:ext uri="{FF2B5EF4-FFF2-40B4-BE49-F238E27FC236}">
                <a16:creationId xmlns:a16="http://schemas.microsoft.com/office/drawing/2014/main" id="{BBCFFB55-AEE0-B60F-9245-9C27632712D3}"/>
              </a:ext>
            </a:extLst>
          </p:cNvPr>
          <p:cNvGrpSpPr/>
          <p:nvPr userDrawn="1"/>
        </p:nvGrpSpPr>
        <p:grpSpPr>
          <a:xfrm>
            <a:off x="1237478" y="4482674"/>
            <a:ext cx="1363492" cy="307063"/>
            <a:chOff x="469958" y="1647414"/>
            <a:chExt cx="8205029" cy="1847802"/>
          </a:xfrm>
          <a:solidFill>
            <a:schemeClr val="accent1"/>
          </a:solidFill>
        </p:grpSpPr>
        <p:sp>
          <p:nvSpPr>
            <p:cNvPr id="13" name="Freeform 33">
              <a:extLst>
                <a:ext uri="{FF2B5EF4-FFF2-40B4-BE49-F238E27FC236}">
                  <a16:creationId xmlns:a16="http://schemas.microsoft.com/office/drawing/2014/main" id="{488E8824-AD70-39E9-BE21-40A428AA1642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4" name="Freeform 34">
              <a:extLst>
                <a:ext uri="{FF2B5EF4-FFF2-40B4-BE49-F238E27FC236}">
                  <a16:creationId xmlns:a16="http://schemas.microsoft.com/office/drawing/2014/main" id="{CAC7C88C-6569-86EB-A912-A81A3D3D3239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5" name="Freeform 35">
              <a:extLst>
                <a:ext uri="{FF2B5EF4-FFF2-40B4-BE49-F238E27FC236}">
                  <a16:creationId xmlns:a16="http://schemas.microsoft.com/office/drawing/2014/main" id="{631B0B37-63CB-7184-5451-7161305EE5DD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6" name="Freeform 36">
              <a:extLst>
                <a:ext uri="{FF2B5EF4-FFF2-40B4-BE49-F238E27FC236}">
                  <a16:creationId xmlns:a16="http://schemas.microsoft.com/office/drawing/2014/main" id="{7CABF032-2DB3-FBD2-FA1D-C42334098181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7" name="Freeform 37">
              <a:extLst>
                <a:ext uri="{FF2B5EF4-FFF2-40B4-BE49-F238E27FC236}">
                  <a16:creationId xmlns:a16="http://schemas.microsoft.com/office/drawing/2014/main" id="{93CE2008-A2FB-AA6A-EE55-3A2E2A885720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EE447E57-9E3B-2030-9902-A8BA6E7583E4}"/>
              </a:ext>
            </a:extLst>
          </p:cNvPr>
          <p:cNvSpPr txBox="1"/>
          <p:nvPr userDrawn="1"/>
        </p:nvSpPr>
        <p:spPr>
          <a:xfrm>
            <a:off x="5553597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B61C7B4D-5A69-FF1F-0F31-D16D75C7921B}"/>
              </a:ext>
            </a:extLst>
          </p:cNvPr>
          <p:cNvSpPr txBox="1">
            <a:spLocks/>
          </p:cNvSpPr>
          <p:nvPr userDrawn="1"/>
        </p:nvSpPr>
        <p:spPr>
          <a:xfrm>
            <a:off x="5292671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6" name="Footer Placeholder 2">
            <a:extLst>
              <a:ext uri="{FF2B5EF4-FFF2-40B4-BE49-F238E27FC236}">
                <a16:creationId xmlns:a16="http://schemas.microsoft.com/office/drawing/2014/main" id="{AD544843-BF44-8F0F-4D23-F80C60F60B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78179" y="4858555"/>
            <a:ext cx="2592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Nokia internal use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B1A77665-3F1E-2A97-3EA0-9107B5BFDA76}"/>
              </a:ext>
            </a:extLst>
          </p:cNvPr>
          <p:cNvCxnSpPr>
            <a:cxnSpLocks/>
          </p:cNvCxnSpPr>
          <p:nvPr userDrawn="1"/>
        </p:nvCxnSpPr>
        <p:spPr>
          <a:xfrm>
            <a:off x="6278509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7432026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5.1 - Cover O BlueGreen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18A7CBB0-A767-7247-8638-81BC366967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7BBDEA00-FE7A-639E-C16F-BC5E3DBD8FD3}"/>
              </a:ext>
            </a:extLst>
          </p:cNvPr>
          <p:cNvGrpSpPr/>
          <p:nvPr userDrawn="1"/>
        </p:nvGrpSpPr>
        <p:grpSpPr>
          <a:xfrm>
            <a:off x="6981148" y="2418218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24">
              <a:extLst>
                <a:ext uri="{FF2B5EF4-FFF2-40B4-BE49-F238E27FC236}">
                  <a16:creationId xmlns:a16="http://schemas.microsoft.com/office/drawing/2014/main" id="{0B5F76F9-295B-59E5-BDCF-8B6840E5B52F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25">
              <a:extLst>
                <a:ext uri="{FF2B5EF4-FFF2-40B4-BE49-F238E27FC236}">
                  <a16:creationId xmlns:a16="http://schemas.microsoft.com/office/drawing/2014/main" id="{B473941B-CE77-6414-782E-B5933651166D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26">
              <a:extLst>
                <a:ext uri="{FF2B5EF4-FFF2-40B4-BE49-F238E27FC236}">
                  <a16:creationId xmlns:a16="http://schemas.microsoft.com/office/drawing/2014/main" id="{03FCE4B1-384C-92A9-F114-45634B67A119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27">
              <a:extLst>
                <a:ext uri="{FF2B5EF4-FFF2-40B4-BE49-F238E27FC236}">
                  <a16:creationId xmlns:a16="http://schemas.microsoft.com/office/drawing/2014/main" id="{16718376-BEBA-6EC2-B9BA-05AEA7853033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 28">
              <a:extLst>
                <a:ext uri="{FF2B5EF4-FFF2-40B4-BE49-F238E27FC236}">
                  <a16:creationId xmlns:a16="http://schemas.microsoft.com/office/drawing/2014/main" id="{55E96EEC-F984-9065-5EAC-AF9297B31DF8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13" name="Graphic 12">
            <a:extLst>
              <a:ext uri="{FF2B5EF4-FFF2-40B4-BE49-F238E27FC236}">
                <a16:creationId xmlns:a16="http://schemas.microsoft.com/office/drawing/2014/main" id="{8CEF710E-39E1-082B-B52C-E37B4EEF550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25034"/>
          <a:stretch/>
        </p:blipFill>
        <p:spPr>
          <a:xfrm>
            <a:off x="5126775" y="-4796"/>
            <a:ext cx="4017225" cy="5144400"/>
          </a:xfrm>
          <a:prstGeom prst="rect">
            <a:avLst/>
          </a:prstGeom>
        </p:spPr>
      </p:pic>
      <p:sp>
        <p:nvSpPr>
          <p:cNvPr id="14" name="Title 4">
            <a:extLst>
              <a:ext uri="{FF2B5EF4-FFF2-40B4-BE49-F238E27FC236}">
                <a16:creationId xmlns:a16="http://schemas.microsoft.com/office/drawing/2014/main" id="{2C6BDD68-E8AC-9D13-ED1D-D43FFC8357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 dirty="0"/>
              <a:t>Presentation</a:t>
            </a:r>
            <a:br>
              <a:rPr lang="en-GB" dirty="0"/>
            </a:br>
            <a:r>
              <a:rPr lang="en-GB" dirty="0"/>
              <a:t>Title (2 lines)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76BF5CE8-2417-2D5D-75FE-27E0BE07F50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Subtitle/Autho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C8B88A2-C8A9-A342-E8B5-C91DF5E71FF2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9EC2290D-5934-145E-499C-1CB0349E5FA0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BD471F30-B344-A63E-287D-45299C3476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Nokia internal use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4698C39D-9BF3-2E01-07D8-83AC83D22B64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699756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5.2 - Cover O BluePink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Background pattern&#10;&#10;Description automatically generated">
            <a:extLst>
              <a:ext uri="{FF2B5EF4-FFF2-40B4-BE49-F238E27FC236}">
                <a16:creationId xmlns:a16="http://schemas.microsoft.com/office/drawing/2014/main" id="{B7370059-157B-625C-8521-D3FCF8A22D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6" name="Graphic 3">
            <a:extLst>
              <a:ext uri="{FF2B5EF4-FFF2-40B4-BE49-F238E27FC236}">
                <a16:creationId xmlns:a16="http://schemas.microsoft.com/office/drawing/2014/main" id="{7ADBC276-24FC-31B1-198D-D0A0EB5188BB}"/>
              </a:ext>
            </a:extLst>
          </p:cNvPr>
          <p:cNvGrpSpPr/>
          <p:nvPr userDrawn="1"/>
        </p:nvGrpSpPr>
        <p:grpSpPr>
          <a:xfrm>
            <a:off x="6981148" y="2418218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7" name="Freeform 24">
              <a:extLst>
                <a:ext uri="{FF2B5EF4-FFF2-40B4-BE49-F238E27FC236}">
                  <a16:creationId xmlns:a16="http://schemas.microsoft.com/office/drawing/2014/main" id="{CDDE8834-7F71-A488-29A8-540395324479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FEFA04F6-2C3F-3E38-9E08-D6990D946A84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 26">
              <a:extLst>
                <a:ext uri="{FF2B5EF4-FFF2-40B4-BE49-F238E27FC236}">
                  <a16:creationId xmlns:a16="http://schemas.microsoft.com/office/drawing/2014/main" id="{54253727-9053-862A-19CB-32DD1616812D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 27">
              <a:extLst>
                <a:ext uri="{FF2B5EF4-FFF2-40B4-BE49-F238E27FC236}">
                  <a16:creationId xmlns:a16="http://schemas.microsoft.com/office/drawing/2014/main" id="{6E5204B2-3785-90DB-45F2-F73CC4975954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28">
              <a:extLst>
                <a:ext uri="{FF2B5EF4-FFF2-40B4-BE49-F238E27FC236}">
                  <a16:creationId xmlns:a16="http://schemas.microsoft.com/office/drawing/2014/main" id="{95BC05DD-4D63-F05A-843F-EE491020FFD8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14" name="Graphic 13">
            <a:extLst>
              <a:ext uri="{FF2B5EF4-FFF2-40B4-BE49-F238E27FC236}">
                <a16:creationId xmlns:a16="http://schemas.microsoft.com/office/drawing/2014/main" id="{F41E3DBD-A4E2-6EF5-8073-EED87395D7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25034"/>
          <a:stretch/>
        </p:blipFill>
        <p:spPr>
          <a:xfrm>
            <a:off x="5126775" y="-4796"/>
            <a:ext cx="4017225" cy="5144400"/>
          </a:xfrm>
          <a:prstGeom prst="rect">
            <a:avLst/>
          </a:prstGeom>
        </p:spPr>
      </p:pic>
      <p:sp>
        <p:nvSpPr>
          <p:cNvPr id="15" name="Title 4">
            <a:extLst>
              <a:ext uri="{FF2B5EF4-FFF2-40B4-BE49-F238E27FC236}">
                <a16:creationId xmlns:a16="http://schemas.microsoft.com/office/drawing/2014/main" id="{60E8CE17-B2D0-B92F-1A9F-C72280B6E9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 dirty="0"/>
              <a:t>Presentation</a:t>
            </a:r>
            <a:br>
              <a:rPr lang="en-GB" dirty="0"/>
            </a:br>
            <a:r>
              <a:rPr lang="en-GB" dirty="0"/>
              <a:t>Title (2 lines)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6BEF90E0-A2AA-9B05-58FB-3D4109E95C4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Subtitle/Author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132D8A-9E85-B335-C2FD-9D2508FEAFCE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5D1F556C-703D-0EB9-35BD-0A7DE6122BF2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F61D5928-67F7-A4E5-2767-E072B8F67A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Nokia internal use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0AE06C9D-E699-053A-48F6-090A15EE3414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5331133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5.3 - Cover O BlueGreen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7A20ED13-DCC3-ED6C-4FB2-2B64E7F041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7" name="Graphic 3">
            <a:extLst>
              <a:ext uri="{FF2B5EF4-FFF2-40B4-BE49-F238E27FC236}">
                <a16:creationId xmlns:a16="http://schemas.microsoft.com/office/drawing/2014/main" id="{7D655505-6963-6602-F9EA-4C3B3BA5DCB7}"/>
              </a:ext>
            </a:extLst>
          </p:cNvPr>
          <p:cNvGrpSpPr/>
          <p:nvPr userDrawn="1"/>
        </p:nvGrpSpPr>
        <p:grpSpPr>
          <a:xfrm>
            <a:off x="6981148" y="2418218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8" name="Freeform 24">
              <a:extLst>
                <a:ext uri="{FF2B5EF4-FFF2-40B4-BE49-F238E27FC236}">
                  <a16:creationId xmlns:a16="http://schemas.microsoft.com/office/drawing/2014/main" id="{7D3C8143-8E12-BEA4-801E-C540B573C9A5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 25">
              <a:extLst>
                <a:ext uri="{FF2B5EF4-FFF2-40B4-BE49-F238E27FC236}">
                  <a16:creationId xmlns:a16="http://schemas.microsoft.com/office/drawing/2014/main" id="{08DD0EEC-3388-7E9D-C475-8C7C6448AEF5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26">
              <a:extLst>
                <a:ext uri="{FF2B5EF4-FFF2-40B4-BE49-F238E27FC236}">
                  <a16:creationId xmlns:a16="http://schemas.microsoft.com/office/drawing/2014/main" id="{46AF7602-77C1-4DB0-5B0C-443AE4CE7F67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 27">
              <a:extLst>
                <a:ext uri="{FF2B5EF4-FFF2-40B4-BE49-F238E27FC236}">
                  <a16:creationId xmlns:a16="http://schemas.microsoft.com/office/drawing/2014/main" id="{CE410BEC-795B-5241-F0C2-EA9498D9FABB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 28">
              <a:extLst>
                <a:ext uri="{FF2B5EF4-FFF2-40B4-BE49-F238E27FC236}">
                  <a16:creationId xmlns:a16="http://schemas.microsoft.com/office/drawing/2014/main" id="{A382B77D-424C-AD2C-03A1-02E188F12FF3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16" name="Graphic 15">
            <a:extLst>
              <a:ext uri="{FF2B5EF4-FFF2-40B4-BE49-F238E27FC236}">
                <a16:creationId xmlns:a16="http://schemas.microsoft.com/office/drawing/2014/main" id="{B9438AB4-120A-6B68-C6A3-6BD51CF52D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25034"/>
          <a:stretch/>
        </p:blipFill>
        <p:spPr>
          <a:xfrm>
            <a:off x="5126775" y="-4796"/>
            <a:ext cx="4017225" cy="5144400"/>
          </a:xfrm>
          <a:prstGeom prst="rect">
            <a:avLst/>
          </a:prstGeom>
        </p:spPr>
      </p:pic>
      <p:sp>
        <p:nvSpPr>
          <p:cNvPr id="17" name="Title 4">
            <a:extLst>
              <a:ext uri="{FF2B5EF4-FFF2-40B4-BE49-F238E27FC236}">
                <a16:creationId xmlns:a16="http://schemas.microsoft.com/office/drawing/2014/main" id="{184C4A7B-1AC5-72AD-EB05-210AB3D4C1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 dirty="0"/>
              <a:t>Presentation</a:t>
            </a:r>
            <a:br>
              <a:rPr lang="en-GB" dirty="0"/>
            </a:br>
            <a:r>
              <a:rPr lang="en-GB" dirty="0"/>
              <a:t>Title (2 lines)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A5F506F4-DF34-76FB-83D6-A513173F8E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Subtitle/Author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20759C7-94BC-8FC1-9A43-A40A4BE7AC1D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83D4680A-11B6-A841-EC68-FFF11409500E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AE485A1C-8A6A-5C51-5E3F-5685AAA904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Nokia internal use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B0347B25-CB84-1FE7-62E9-F00844782A8A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90347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.3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8308800" cy="31189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tx2"/>
                </a:solidFill>
              </a:defRPr>
            </a:lvl1pPr>
            <a:lvl2pPr marL="18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tx2"/>
                </a:solidFill>
              </a:defRPr>
            </a:lvl2pPr>
            <a:lvl3pPr marL="36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tx2"/>
                </a:solidFill>
              </a:defRPr>
            </a:lvl3pPr>
            <a:lvl4pPr marL="54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tx2"/>
                </a:solidFill>
              </a:defRPr>
            </a:lvl4pPr>
            <a:lvl5pPr marL="72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752AD69E-8972-FFEB-3CDF-810FC2C15B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31A68076-E163-16F0-6643-612506DC25C6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DDBD7350-FFE3-8F35-04ED-B83CAB700A06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7" name="Footer Placeholder 2">
            <a:extLst>
              <a:ext uri="{FF2B5EF4-FFF2-40B4-BE49-F238E27FC236}">
                <a16:creationId xmlns:a16="http://schemas.microsoft.com/office/drawing/2014/main" id="{4E90EBC0-49DE-3234-6D8A-7B5E88E2D9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Nokia internal use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3E34DB9B-0E35-525F-F0E2-6DC060DF0B54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708966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5.4 - Cover O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4">
            <a:extLst>
              <a:ext uri="{FF2B5EF4-FFF2-40B4-BE49-F238E27FC236}">
                <a16:creationId xmlns:a16="http://schemas.microsoft.com/office/drawing/2014/main" id="{EB5A7CA1-8E09-1FEE-5143-08105708AE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 dirty="0"/>
              <a:t>Presentation</a:t>
            </a:r>
            <a:br>
              <a:rPr lang="en-GB" dirty="0"/>
            </a:br>
            <a:r>
              <a:rPr lang="en-GB" dirty="0"/>
              <a:t>Title (2 lines)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AF6FE26B-E8FF-4ACF-48A7-542E2FB4B86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Subtitle/Author</a:t>
            </a:r>
          </a:p>
        </p:txBody>
      </p:sp>
      <p:grpSp>
        <p:nvGrpSpPr>
          <p:cNvPr id="7" name="Graphic 3">
            <a:extLst>
              <a:ext uri="{FF2B5EF4-FFF2-40B4-BE49-F238E27FC236}">
                <a16:creationId xmlns:a16="http://schemas.microsoft.com/office/drawing/2014/main" id="{57ADD6F0-8A1D-2465-892B-42BFF999186F}"/>
              </a:ext>
            </a:extLst>
          </p:cNvPr>
          <p:cNvGrpSpPr/>
          <p:nvPr userDrawn="1"/>
        </p:nvGrpSpPr>
        <p:grpSpPr>
          <a:xfrm>
            <a:off x="7055828" y="2418218"/>
            <a:ext cx="1363492" cy="307063"/>
            <a:chOff x="469958" y="1647414"/>
            <a:chExt cx="8205029" cy="1847802"/>
          </a:xfrm>
          <a:solidFill>
            <a:schemeClr val="accent1"/>
          </a:solidFill>
        </p:grpSpPr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6AF9626B-4B6B-456F-A237-FCACC9E9F30C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9" name="Freeform 31">
              <a:extLst>
                <a:ext uri="{FF2B5EF4-FFF2-40B4-BE49-F238E27FC236}">
                  <a16:creationId xmlns:a16="http://schemas.microsoft.com/office/drawing/2014/main" id="{B6CEEA85-DD26-876A-A848-DA5F4C628A1F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0" name="Freeform 32">
              <a:extLst>
                <a:ext uri="{FF2B5EF4-FFF2-40B4-BE49-F238E27FC236}">
                  <a16:creationId xmlns:a16="http://schemas.microsoft.com/office/drawing/2014/main" id="{08925FD2-D79C-256F-326A-4097D8380192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AB3AAD83-D7CB-81CB-67DB-D1DD2E032AA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3A1A359F-B85E-95ED-4488-9B71BC1306AF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pic>
        <p:nvPicPr>
          <p:cNvPr id="20" name="Picture 19" descr="Circle&#10;&#10;Description automatically generated with medium confidence">
            <a:extLst>
              <a:ext uri="{FF2B5EF4-FFF2-40B4-BE49-F238E27FC236}">
                <a16:creationId xmlns:a16="http://schemas.microsoft.com/office/drawing/2014/main" id="{87D5AF06-6AF8-9002-BEDC-176CB57496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084"/>
          <a:stretch/>
        </p:blipFill>
        <p:spPr>
          <a:xfrm>
            <a:off x="5126775" y="-4796"/>
            <a:ext cx="4017225" cy="514350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8D94EDB0-D38F-0FE8-27C1-80BAE2455A11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EFAF1A61-3518-0ABC-1BC0-5990D5EF88DE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1" name="Footer Placeholder 2">
            <a:extLst>
              <a:ext uri="{FF2B5EF4-FFF2-40B4-BE49-F238E27FC236}">
                <a16:creationId xmlns:a16="http://schemas.microsoft.com/office/drawing/2014/main" id="{496FB4B1-7F2F-CF04-74B8-D3A7467B0E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Nokia internal use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45700AEF-B2E0-306E-A874-DE91DDDD98FF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6616006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6.1 - Cover K Orang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Background pattern&#10;&#10;Description automatically generated">
            <a:extLst>
              <a:ext uri="{FF2B5EF4-FFF2-40B4-BE49-F238E27FC236}">
                <a16:creationId xmlns:a16="http://schemas.microsoft.com/office/drawing/2014/main" id="{38FCEB48-BE41-308F-33AB-94163C02BF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193793F7-1073-3781-E44D-DD541B786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18818"/>
          <a:stretch/>
        </p:blipFill>
        <p:spPr>
          <a:xfrm>
            <a:off x="4967656" y="0"/>
            <a:ext cx="4176344" cy="5144400"/>
          </a:xfrm>
          <a:prstGeom prst="rect">
            <a:avLst/>
          </a:prstGeom>
        </p:spPr>
      </p:pic>
      <p:sp>
        <p:nvSpPr>
          <p:cNvPr id="17" name="Title 4">
            <a:extLst>
              <a:ext uri="{FF2B5EF4-FFF2-40B4-BE49-F238E27FC236}">
                <a16:creationId xmlns:a16="http://schemas.microsoft.com/office/drawing/2014/main" id="{4A761E77-5CBD-451F-FA38-EA3EF19CE9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 dirty="0"/>
              <a:t>Presentation</a:t>
            </a:r>
            <a:br>
              <a:rPr lang="en-GB" dirty="0"/>
            </a:br>
            <a:r>
              <a:rPr lang="en-GB" dirty="0"/>
              <a:t>Title (2 lines)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1349CF4D-C3F5-69B9-4227-EC331C16F09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Subtitle/Author</a:t>
            </a:r>
          </a:p>
        </p:txBody>
      </p:sp>
      <p:grpSp>
        <p:nvGrpSpPr>
          <p:cNvPr id="6" name="Graphic 3">
            <a:extLst>
              <a:ext uri="{FF2B5EF4-FFF2-40B4-BE49-F238E27FC236}">
                <a16:creationId xmlns:a16="http://schemas.microsoft.com/office/drawing/2014/main" id="{5A3F8AE7-69F1-0171-3222-4CFFCDB4F568}"/>
              </a:ext>
            </a:extLst>
          </p:cNvPr>
          <p:cNvGrpSpPr/>
          <p:nvPr userDrawn="1"/>
        </p:nvGrpSpPr>
        <p:grpSpPr>
          <a:xfrm>
            <a:off x="7055828" y="2418218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7" name="Freeform 25">
              <a:extLst>
                <a:ext uri="{FF2B5EF4-FFF2-40B4-BE49-F238E27FC236}">
                  <a16:creationId xmlns:a16="http://schemas.microsoft.com/office/drawing/2014/main" id="{0DE2A214-8055-F089-C6C4-415D2FEE4242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8" name="Freeform 31">
              <a:extLst>
                <a:ext uri="{FF2B5EF4-FFF2-40B4-BE49-F238E27FC236}">
                  <a16:creationId xmlns:a16="http://schemas.microsoft.com/office/drawing/2014/main" id="{E7E7B380-ABE2-70DF-A29A-E3B4A181FA12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9" name="Freeform 32">
              <a:extLst>
                <a:ext uri="{FF2B5EF4-FFF2-40B4-BE49-F238E27FC236}">
                  <a16:creationId xmlns:a16="http://schemas.microsoft.com/office/drawing/2014/main" id="{ED784E94-97A9-B627-1E07-7CAEF44EE8AF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31E44308-7765-3146-1869-04D3DA41235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5E9E56FD-C856-3054-AB6B-A80BA7D6C550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801FC38E-29E5-B44A-FE96-F713B08050E2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7AAAD9DC-C952-84F6-32BA-CE8084E916D9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B603A7C0-7450-F57A-CF86-135B131E63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Nokia internal use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DEC99354-0705-43E6-69C9-1036477EF0BB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6558167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6.2 - Cover K BlueGreen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 descr="Background pattern&#10;&#10;Description automatically generated">
            <a:extLst>
              <a:ext uri="{FF2B5EF4-FFF2-40B4-BE49-F238E27FC236}">
                <a16:creationId xmlns:a16="http://schemas.microsoft.com/office/drawing/2014/main" id="{8FF1A58D-53A4-65F6-8F2B-645D65C533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5166BBE5-C86E-3E87-A7C5-F29BE64D71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18818"/>
          <a:stretch/>
        </p:blipFill>
        <p:spPr>
          <a:xfrm>
            <a:off x="4967656" y="0"/>
            <a:ext cx="4176344" cy="5144400"/>
          </a:xfrm>
          <a:prstGeom prst="rect">
            <a:avLst/>
          </a:prstGeom>
        </p:spPr>
      </p:pic>
      <p:sp>
        <p:nvSpPr>
          <p:cNvPr id="23" name="Title 4">
            <a:extLst>
              <a:ext uri="{FF2B5EF4-FFF2-40B4-BE49-F238E27FC236}">
                <a16:creationId xmlns:a16="http://schemas.microsoft.com/office/drawing/2014/main" id="{5C4391E8-E519-220E-82C7-E7E85659A4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 dirty="0"/>
              <a:t>Presentation</a:t>
            </a:r>
            <a:br>
              <a:rPr lang="en-GB" dirty="0"/>
            </a:br>
            <a:r>
              <a:rPr lang="en-GB" dirty="0"/>
              <a:t>Title (2 lines)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F3E219A7-8ADF-6CBF-872C-AEF07B645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Subtitle/Author</a:t>
            </a:r>
          </a:p>
        </p:txBody>
      </p:sp>
      <p:grpSp>
        <p:nvGrpSpPr>
          <p:cNvPr id="7" name="Graphic 3">
            <a:extLst>
              <a:ext uri="{FF2B5EF4-FFF2-40B4-BE49-F238E27FC236}">
                <a16:creationId xmlns:a16="http://schemas.microsoft.com/office/drawing/2014/main" id="{47BEB086-B161-40ED-B2E3-DDF397278FA8}"/>
              </a:ext>
            </a:extLst>
          </p:cNvPr>
          <p:cNvGrpSpPr/>
          <p:nvPr userDrawn="1"/>
        </p:nvGrpSpPr>
        <p:grpSpPr>
          <a:xfrm>
            <a:off x="7055828" y="2418218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635D1FEE-8FAA-6AFD-E821-344C363F2C2B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9" name="Freeform 31">
              <a:extLst>
                <a:ext uri="{FF2B5EF4-FFF2-40B4-BE49-F238E27FC236}">
                  <a16:creationId xmlns:a16="http://schemas.microsoft.com/office/drawing/2014/main" id="{936726D0-2423-B7DC-41C5-A3E0D3C92756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0" name="Freeform 32">
              <a:extLst>
                <a:ext uri="{FF2B5EF4-FFF2-40B4-BE49-F238E27FC236}">
                  <a16:creationId xmlns:a16="http://schemas.microsoft.com/office/drawing/2014/main" id="{17257835-1368-81AC-1BB9-5374BD6AEA77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28AB2999-1929-69AE-F4B8-38F9B81ECF7A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AC62732A-D69F-1BDC-8778-1D5E71576F10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D9CCAE72-315B-6DC4-6ED3-6C32104BB037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9F6B1C01-19BD-7D67-4E40-88818E2139B8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9" name="Footer Placeholder 2">
            <a:extLst>
              <a:ext uri="{FF2B5EF4-FFF2-40B4-BE49-F238E27FC236}">
                <a16:creationId xmlns:a16="http://schemas.microsoft.com/office/drawing/2014/main" id="{7C973916-701B-92E4-FA4C-28A5746F5C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Nokia internal use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C8980C06-E572-7A51-AF42-18E3E2BB769D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8945429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6.3 - Cover K Pink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DBC0B63B-5EB2-C517-FFAF-0A5B2B5AB9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D2D54FC7-5739-CC9E-8372-80A8BD5BD4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18818"/>
          <a:stretch/>
        </p:blipFill>
        <p:spPr>
          <a:xfrm>
            <a:off x="4967656" y="0"/>
            <a:ext cx="4176344" cy="5144400"/>
          </a:xfrm>
          <a:prstGeom prst="rect">
            <a:avLst/>
          </a:prstGeom>
        </p:spPr>
      </p:pic>
      <p:sp>
        <p:nvSpPr>
          <p:cNvPr id="23" name="Title 4">
            <a:extLst>
              <a:ext uri="{FF2B5EF4-FFF2-40B4-BE49-F238E27FC236}">
                <a16:creationId xmlns:a16="http://schemas.microsoft.com/office/drawing/2014/main" id="{FADBBE10-EF5A-37AA-E18F-F9B27AA61F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 dirty="0"/>
              <a:t>Presentation</a:t>
            </a:r>
            <a:br>
              <a:rPr lang="en-GB" dirty="0"/>
            </a:br>
            <a:r>
              <a:rPr lang="en-GB" dirty="0"/>
              <a:t>Title (2 lines)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0DF69E35-608B-F57E-3615-F9FB9D11DD8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Subtitle/Author</a:t>
            </a:r>
          </a:p>
        </p:txBody>
      </p:sp>
      <p:grpSp>
        <p:nvGrpSpPr>
          <p:cNvPr id="8" name="Graphic 3">
            <a:extLst>
              <a:ext uri="{FF2B5EF4-FFF2-40B4-BE49-F238E27FC236}">
                <a16:creationId xmlns:a16="http://schemas.microsoft.com/office/drawing/2014/main" id="{02491239-1144-EB94-E007-F05D770D71DA}"/>
              </a:ext>
            </a:extLst>
          </p:cNvPr>
          <p:cNvGrpSpPr/>
          <p:nvPr userDrawn="1"/>
        </p:nvGrpSpPr>
        <p:grpSpPr>
          <a:xfrm>
            <a:off x="7055828" y="2418218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9" name="Freeform 25">
              <a:extLst>
                <a:ext uri="{FF2B5EF4-FFF2-40B4-BE49-F238E27FC236}">
                  <a16:creationId xmlns:a16="http://schemas.microsoft.com/office/drawing/2014/main" id="{2FDE4536-B74E-FB0B-5701-EE95568054DA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0" name="Freeform 31">
              <a:extLst>
                <a:ext uri="{FF2B5EF4-FFF2-40B4-BE49-F238E27FC236}">
                  <a16:creationId xmlns:a16="http://schemas.microsoft.com/office/drawing/2014/main" id="{DC504B4C-4BF0-DF13-D647-0C718DF4AD96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1" name="Freeform 32">
              <a:extLst>
                <a:ext uri="{FF2B5EF4-FFF2-40B4-BE49-F238E27FC236}">
                  <a16:creationId xmlns:a16="http://schemas.microsoft.com/office/drawing/2014/main" id="{F3BB0087-C253-F0E4-3F52-1A53B4AFA975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2" name="Freeform 33">
              <a:extLst>
                <a:ext uri="{FF2B5EF4-FFF2-40B4-BE49-F238E27FC236}">
                  <a16:creationId xmlns:a16="http://schemas.microsoft.com/office/drawing/2014/main" id="{3025D71C-0D10-5220-5980-B17FC068151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3" name="Freeform 34">
              <a:extLst>
                <a:ext uri="{FF2B5EF4-FFF2-40B4-BE49-F238E27FC236}">
                  <a16:creationId xmlns:a16="http://schemas.microsoft.com/office/drawing/2014/main" id="{64514CD7-9102-9552-6763-AB0337AAA7ED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5AE80B1C-FD35-F288-8BFD-2F827D4C51AD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0B17E72F-0CE2-D4D0-F696-BEA9F83EF5AA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0" name="Footer Placeholder 2">
            <a:extLst>
              <a:ext uri="{FF2B5EF4-FFF2-40B4-BE49-F238E27FC236}">
                <a16:creationId xmlns:a16="http://schemas.microsoft.com/office/drawing/2014/main" id="{AB4C8BF7-D6EA-CCEB-F116-FF8F674A1D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Nokia internal use</a:t>
            </a:r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E635509-617A-2673-6143-139A72A328AE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557383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6.4 - Cover 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53F4EAC9-01A1-ED6A-B271-D7FC17A6D2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8798"/>
          <a:stretch/>
        </p:blipFill>
        <p:spPr>
          <a:xfrm>
            <a:off x="4966626" y="0"/>
            <a:ext cx="4177374" cy="5144400"/>
          </a:xfrm>
          <a:prstGeom prst="rect">
            <a:avLst/>
          </a:prstGeom>
        </p:spPr>
      </p:pic>
      <p:sp>
        <p:nvSpPr>
          <p:cNvPr id="17" name="Title 4">
            <a:extLst>
              <a:ext uri="{FF2B5EF4-FFF2-40B4-BE49-F238E27FC236}">
                <a16:creationId xmlns:a16="http://schemas.microsoft.com/office/drawing/2014/main" id="{EB5A7CA1-8E09-1FEE-5143-08105708AE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 dirty="0"/>
              <a:t>Presentation</a:t>
            </a:r>
            <a:br>
              <a:rPr lang="en-GB" dirty="0"/>
            </a:br>
            <a:r>
              <a:rPr lang="en-GB" dirty="0"/>
              <a:t>Title (2 lines)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AF6FE26B-E8FF-4ACF-48A7-542E2FB4B86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Subtitle/Author</a:t>
            </a:r>
          </a:p>
        </p:txBody>
      </p:sp>
      <p:grpSp>
        <p:nvGrpSpPr>
          <p:cNvPr id="7" name="Graphic 3">
            <a:extLst>
              <a:ext uri="{FF2B5EF4-FFF2-40B4-BE49-F238E27FC236}">
                <a16:creationId xmlns:a16="http://schemas.microsoft.com/office/drawing/2014/main" id="{57ADD6F0-8A1D-2465-892B-42BFF999186F}"/>
              </a:ext>
            </a:extLst>
          </p:cNvPr>
          <p:cNvGrpSpPr/>
          <p:nvPr userDrawn="1"/>
        </p:nvGrpSpPr>
        <p:grpSpPr>
          <a:xfrm>
            <a:off x="7055828" y="2418218"/>
            <a:ext cx="1363492" cy="307063"/>
            <a:chOff x="469958" y="1647414"/>
            <a:chExt cx="8205029" cy="1847802"/>
          </a:xfrm>
          <a:solidFill>
            <a:schemeClr val="accent1"/>
          </a:solidFill>
        </p:grpSpPr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6AF9626B-4B6B-456F-A237-FCACC9E9F30C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9" name="Freeform 31">
              <a:extLst>
                <a:ext uri="{FF2B5EF4-FFF2-40B4-BE49-F238E27FC236}">
                  <a16:creationId xmlns:a16="http://schemas.microsoft.com/office/drawing/2014/main" id="{B6CEEA85-DD26-876A-A848-DA5F4C628A1F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0" name="Freeform 32">
              <a:extLst>
                <a:ext uri="{FF2B5EF4-FFF2-40B4-BE49-F238E27FC236}">
                  <a16:creationId xmlns:a16="http://schemas.microsoft.com/office/drawing/2014/main" id="{08925FD2-D79C-256F-326A-4097D8380192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AB3AAD83-D7CB-81CB-67DB-D1DD2E032AA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3A1A359F-B85E-95ED-4488-9B71BC1306AF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685118FE-3A69-7878-D9BB-1A3313720C81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0F609D8D-5CB0-9FB7-12C3-CB2F81E54A60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1" name="Footer Placeholder 2">
            <a:extLst>
              <a:ext uri="{FF2B5EF4-FFF2-40B4-BE49-F238E27FC236}">
                <a16:creationId xmlns:a16="http://schemas.microsoft.com/office/drawing/2014/main" id="{A6A581A3-9568-ADAA-C577-D08AD5F138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Nokia internal use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39597BE1-B84C-D2C8-9145-12E1EE3A2A41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0592906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7.1 - Divider BlueGreen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2F98BFE0-FEAC-1333-6BF5-7907903B2D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62755F71-C8DF-BEE3-C54C-12DECC4F977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Divider pages </a:t>
            </a:r>
            <a:br>
              <a:rPr lang="en-US" noProof="0"/>
            </a:br>
            <a:r>
              <a:rPr lang="en-US" noProof="0"/>
              <a:t>or large quot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F5C81FB-4A41-2E38-2638-F82CC70C7B5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A3AA9E6A-3B54-EBA8-25AB-52211D52F5EA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0FC82D3C-5CAB-DDEA-5BAD-0CE49311B44C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DF275CFF-10A6-01B8-606D-73D7A56422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Nokia internal use</a:t>
            </a:r>
            <a:endParaRPr lang="en-US" dirty="0"/>
          </a:p>
        </p:txBody>
      </p:sp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56D07526-2E9D-2AAD-EE94-167EEE1536F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161471"/>
            <a:ext cx="8308800" cy="11084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aseline="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8D6CBFA-FE17-BB91-3580-068737D2A8A9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5102166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7.2 - Divider BlueGreen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82BC244E-62D2-236F-4DC8-EEBFE9AF28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8" name="Text Placeholder 42">
            <a:extLst>
              <a:ext uri="{FF2B5EF4-FFF2-40B4-BE49-F238E27FC236}">
                <a16:creationId xmlns:a16="http://schemas.microsoft.com/office/drawing/2014/main" id="{BE7F6530-2B80-C2AA-C92D-861D7E8FD5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Divider pages </a:t>
            </a:r>
            <a:br>
              <a:rPr lang="en-US" noProof="0"/>
            </a:br>
            <a:r>
              <a:rPr lang="en-US" noProof="0"/>
              <a:t>or large quot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9E92399-CC16-9177-2657-E4899DE383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4FBBDEB0-7315-4214-F9C8-48DBCC502C8E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3976F6A6-5835-91B8-5B94-A197DCCF65D7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146445DD-AC0A-C4BA-03CB-A346CF3E92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Nokia internal use</a:t>
            </a:r>
            <a:endParaRPr lang="en-US" dirty="0"/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5ED3C240-0F31-AD4B-E3D6-E9E2DFC4EB6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161471"/>
            <a:ext cx="8308800" cy="11084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aseline="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33C362B2-9A6C-0E6C-FBA1-C96043F3F40D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3157591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7.3 - Divider BlueGreen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1ACC9534-D4F4-B471-C3A8-8380F72B349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62755F71-C8DF-BEE3-C54C-12DECC4F977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Divider pages </a:t>
            </a:r>
            <a:br>
              <a:rPr lang="en-US" noProof="0"/>
            </a:br>
            <a:r>
              <a:rPr lang="en-US" noProof="0"/>
              <a:t>or large quot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3761BFBE-2F2E-2C4F-848A-E8505169811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BC0FACD4-71CC-9E35-CDCC-22C146E52E95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823572DF-299F-8B6C-1E42-1A659F393240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F374EA10-DD32-7823-1E8C-8A5B6454CC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Nokia internal use</a:t>
            </a:r>
            <a:endParaRPr lang="en-US" dirty="0"/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B4CCFE40-D40E-A7E0-E99F-0E9E3E7CA3B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161471"/>
            <a:ext cx="8308800" cy="11084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aseline="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62F7CD0-7194-262C-4163-9C9259A996B3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386889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7.4 - Divider PurpleBlu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E01D2CA4-939C-12C2-DF49-53BE4EA4C1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0DABAD96-0284-76FF-D804-48E7FFCA08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Divider pages </a:t>
            </a:r>
            <a:br>
              <a:rPr lang="en-US" noProof="0"/>
            </a:br>
            <a:r>
              <a:rPr lang="en-US" noProof="0"/>
              <a:t>or large quot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83B5421E-4ADD-A198-F29A-1E6995BF576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06758511-3EE8-4852-763C-F4F1187FA97D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4486F512-1927-A0E0-A1C2-79941992D99A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38DEF3F3-5CAD-FC0C-F7DD-4A913E71BD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Nokia internal use</a:t>
            </a:r>
            <a:endParaRPr lang="en-US" dirty="0"/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E790325F-8E1D-1D8F-9BC9-63324BDA400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161471"/>
            <a:ext cx="8308800" cy="11084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aseline="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D2CB855-84A3-85F5-FB9C-1E75571087A5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056082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7.5 - Divider BluePink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ackground pattern&#10;&#10;Description automatically generated">
            <a:extLst>
              <a:ext uri="{FF2B5EF4-FFF2-40B4-BE49-F238E27FC236}">
                <a16:creationId xmlns:a16="http://schemas.microsoft.com/office/drawing/2014/main" id="{FEF07AED-C885-0A94-CE92-AD0235762C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513AFDC9-7EA7-195A-AC21-49A03E74AF4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Divider pages </a:t>
            </a:r>
            <a:br>
              <a:rPr lang="en-US" noProof="0"/>
            </a:br>
            <a:r>
              <a:rPr lang="en-US" noProof="0"/>
              <a:t>or large quot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5F57FFFB-CCE3-C058-3729-4EDEEE5E646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35665458-1735-3CFE-DB60-E654932058A6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B8EAC92C-19BC-5473-42AE-69A4371F2861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9E2C85D8-A3A9-A261-1BCF-7010668564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Nokia internal use</a:t>
            </a:r>
            <a:endParaRPr lang="en-US" dirty="0"/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521CF4E5-14D0-7A0E-3B20-BC1F539D9BF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161471"/>
            <a:ext cx="8308800" cy="11084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aseline="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84253F2-17A2-0FB1-EBCA-E926952C83BC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25720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.4 - 1x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83088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3772E5D1-F4A4-5034-E057-717754E354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D5C5286A-148E-6CAC-4953-28CEC8A7AC65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8C09A251-3EA9-3813-C32A-42674B11B3BE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7" name="Footer Placeholder 2">
            <a:extLst>
              <a:ext uri="{FF2B5EF4-FFF2-40B4-BE49-F238E27FC236}">
                <a16:creationId xmlns:a16="http://schemas.microsoft.com/office/drawing/2014/main" id="{4DDBC5E9-DF95-1530-C94F-AC94C8FDD7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Nokia internal use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0A138235-402A-DB5E-7574-A36D3D7E8212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8105429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7.6 - Divider Pink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2FD17980-F783-4A27-87DC-42985B6C77B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522A1BAB-7805-96E3-BA5B-3E8B26D8AA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Divider pages </a:t>
            </a:r>
            <a:br>
              <a:rPr lang="en-US" noProof="0"/>
            </a:br>
            <a:r>
              <a:rPr lang="en-US" noProof="0"/>
              <a:t>or large quot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AB3FE475-1931-B109-EFE4-3720BF54E14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C4C0B05D-F0F7-15F3-4C17-EED0899C7AFB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49857B24-CF63-C1F9-6FBA-114618B4AAB6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39CB5136-AC36-0B5E-A3A9-2D5B7B13CF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Nokia internal use</a:t>
            </a:r>
            <a:endParaRPr lang="en-US" dirty="0"/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45165F11-ACDF-2F83-0960-B38B3A16DAD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161471"/>
            <a:ext cx="8308800" cy="11084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aseline="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A883A0B-71FE-CCBB-40D3-94902D79FA08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7097989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7.7 - Divider Orang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734BF0FE-66B0-30DC-7C7E-0C60AC6208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915CB6A6-17E7-3E33-E841-80BBD7036B3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Divider pages </a:t>
            </a:r>
            <a:br>
              <a:rPr lang="en-US" noProof="0"/>
            </a:br>
            <a:r>
              <a:rPr lang="en-US" noProof="0"/>
              <a:t>or large quot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11B8FE6-8F1C-8435-F33C-EE04C6A6A16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849B4D71-50D7-0502-EF7E-5AAF38E8659C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4256B84B-A641-FF3B-04A5-7875DE216F37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DB5AF0F0-B002-CB3B-6A1E-945904E802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Nokia internal use</a:t>
            </a:r>
            <a:endParaRPr lang="en-US" dirty="0"/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BFB53FB7-1753-80D0-CDCE-10664D914FB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161471"/>
            <a:ext cx="8308800" cy="11084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aseline="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D1215D7-36B4-79D5-19D8-6A7A87DAEEB9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4291692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8.1 - End BlueGreen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ackground pattern&#10;&#10;Description automatically generated">
            <a:extLst>
              <a:ext uri="{FF2B5EF4-FFF2-40B4-BE49-F238E27FC236}">
                <a16:creationId xmlns:a16="http://schemas.microsoft.com/office/drawing/2014/main" id="{3A71822B-C712-A4E6-919B-405BA7F21A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F113608E-22FD-657F-8D07-CD39EC97958A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DA917A93-F7DB-3A50-D98B-8185FF15DE00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08D8095F-7FCC-5669-F881-F66619242228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A8F3D3FE-D0C9-59C1-F189-DA228D51A05B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7F167DEA-E276-FD24-54AA-B4A09328CCE6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5BDAA131-A001-A420-C695-237DBC402651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12897789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8.2 - End BlueGreen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ackground pattern&#10;&#10;Description automatically generated">
            <a:extLst>
              <a:ext uri="{FF2B5EF4-FFF2-40B4-BE49-F238E27FC236}">
                <a16:creationId xmlns:a16="http://schemas.microsoft.com/office/drawing/2014/main" id="{0EF89375-E21D-F63F-06A8-C59355F1254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EBD7979C-B9C6-8A09-B241-FD1FED4BAC89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B7B0CAF0-3BC0-2F0C-A2D6-BD2777136ABD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DFE11313-A28D-C9D5-388D-F3DCE472D733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5423B194-3C18-4ED2-C954-ADB91F99CDD9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3A46B4C4-EAE8-DC64-8EE7-085376B9F0C3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868AEA7C-4869-2294-8EAF-A87420CD4743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18490102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8.3 - End BlueGreen5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ackground pattern&#10;&#10;Description automatically generated">
            <a:extLst>
              <a:ext uri="{FF2B5EF4-FFF2-40B4-BE49-F238E27FC236}">
                <a16:creationId xmlns:a16="http://schemas.microsoft.com/office/drawing/2014/main" id="{408FFEE3-9429-FB20-94DA-036B3BA28A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FF97AAA9-D469-5AE4-F90F-9020A3DDBE0A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C2E78338-BF1F-47F8-574E-5A79325DD1F8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BEABEE7F-B8A9-CDE0-CB0E-B91BA834B8F1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42EAFBE4-3E55-88EC-6263-AA83BE68E7C0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55877F46-FE15-EE6B-7255-F5187038A7A8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F62DDA2E-E23F-3C1F-FBA8-13E4AE5F3526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3806626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8.4 - End PurpleBlue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3465075C-3A04-8F21-2D96-F11146239A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A77D7537-AB6E-150C-8EAC-2488703A5501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B6DD48B6-4C1B-73D2-03B9-15D30FCE5E9E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64D70B58-DDCB-C449-2352-59773ED88AE4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609F40CE-5FD9-0148-24E8-B471F0E808BF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921AF8C9-7D93-7437-46E4-70C04BC1FCD9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A4086F6C-E115-654F-39E3-04AE3FA56022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75271785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8.5 - End BluePink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ackground pattern&#10;&#10;Description automatically generated">
            <a:extLst>
              <a:ext uri="{FF2B5EF4-FFF2-40B4-BE49-F238E27FC236}">
                <a16:creationId xmlns:a16="http://schemas.microsoft.com/office/drawing/2014/main" id="{439F40A4-C4FE-CE81-4DDE-1096BF05B1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04350EF6-70D2-8CA6-C8B4-23AD48C51B92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E3C5F24B-DEBE-91F4-60EF-98DB9598FC4B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0430F02E-A1F8-79E9-1749-B79A96144EDF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FABBDCAD-55AC-A504-7AB9-9EA8B4E0982A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3870B6CA-17E5-8094-AABA-A4EB4CF4DD7D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AB471460-440F-63D0-B43A-D4E98094F4B1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5369422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8.6 - End Pink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21011232-FEC1-556E-5D81-2627C46F6DF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E305D3B8-631A-ECF6-F436-B2BCDEC1D146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A5AA4292-461B-4E6C-D0DF-22D79FF5659C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E83B83EF-F13E-0C9F-A72E-1028FFB5C1A3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7583F4ED-E4FB-BC79-63D6-917602298C36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D7AF8DF3-63F0-80CE-4E26-5256A0E0248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AD0AD8F7-2131-0B88-1728-D3CA421A2D28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84266987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8.7 - Divider Orange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AC7C13A4-489B-3211-82FF-868A0A256EF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7490672C-BECC-A8CE-2FB2-AF9FB16315DB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A3EA2D57-26D4-3FE7-0AD1-EEED4BE8BED6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3244009B-B9FA-D5C6-D5E3-5563DC7638F9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2FD42FBA-921E-BB93-CEB5-51CAED5F5997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DADC54FF-C0E3-D235-2C4E-2FB66C6E9ED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8E3A682F-0F88-48F0-97B1-60B5B2477F92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51156547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8.8 - Divider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aphic 3">
            <a:extLst>
              <a:ext uri="{FF2B5EF4-FFF2-40B4-BE49-F238E27FC236}">
                <a16:creationId xmlns:a16="http://schemas.microsoft.com/office/drawing/2014/main" id="{46DC4F6B-8D28-1514-E83F-9C8BC35CC881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accent1"/>
          </a:solidFill>
        </p:grpSpPr>
        <p:sp>
          <p:nvSpPr>
            <p:cNvPr id="3" name="Freeform 10">
              <a:extLst>
                <a:ext uri="{FF2B5EF4-FFF2-40B4-BE49-F238E27FC236}">
                  <a16:creationId xmlns:a16="http://schemas.microsoft.com/office/drawing/2014/main" id="{528AAC0C-F8F7-997C-49C5-2DDCFFEF4C2F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" name="Freeform 11">
              <a:extLst>
                <a:ext uri="{FF2B5EF4-FFF2-40B4-BE49-F238E27FC236}">
                  <a16:creationId xmlns:a16="http://schemas.microsoft.com/office/drawing/2014/main" id="{709A296F-6430-7EEE-74D0-2B39CDE8E8CE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2">
              <a:extLst>
                <a:ext uri="{FF2B5EF4-FFF2-40B4-BE49-F238E27FC236}">
                  <a16:creationId xmlns:a16="http://schemas.microsoft.com/office/drawing/2014/main" id="{98732BD3-7687-3964-C382-BE79A1668857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3">
              <a:extLst>
                <a:ext uri="{FF2B5EF4-FFF2-40B4-BE49-F238E27FC236}">
                  <a16:creationId xmlns:a16="http://schemas.microsoft.com/office/drawing/2014/main" id="{9F629670-5E2F-8BFA-0D73-6127F5336BE0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4">
              <a:extLst>
                <a:ext uri="{FF2B5EF4-FFF2-40B4-BE49-F238E27FC236}">
                  <a16:creationId xmlns:a16="http://schemas.microsoft.com/office/drawing/2014/main" id="{9B99146A-4055-2125-3098-1EF0E51C5852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5239167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.5 - 2x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4068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57FF8C70-8D9A-A91A-9AA2-5BAED4E556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58664" y="1260000"/>
            <a:ext cx="4068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39376B1-B82D-56A6-933E-41123F9F3F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76D7398D-CEE7-3079-FB86-A89C992F31A0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3654D0DC-83E2-3257-B441-08F7D9D94478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E47C68A9-7989-FB66-D55B-D66D6874D9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Nokia internal use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C16DBDDB-3C86-596D-3350-0B9ED619D20C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363547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2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A1D69DC-9F16-4CA4-A0E0-1872B8AD5D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Nokia internal use</a:t>
            </a:r>
            <a:endParaRPr lang="en-US"/>
          </a:p>
        </p:txBody>
      </p:sp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600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320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2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387818652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-1 White - plain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2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1988">
                <a:latin typeface="+mj-lt"/>
              </a:defRPr>
            </a:lvl2pPr>
            <a:lvl3pPr>
              <a:defRPr sz="1988">
                <a:latin typeface="+mj-lt"/>
              </a:defRPr>
            </a:lvl3pPr>
            <a:lvl4pPr>
              <a:defRPr sz="1988">
                <a:latin typeface="+mj-lt"/>
              </a:defRPr>
            </a:lvl4pPr>
            <a:lvl5pPr>
              <a:defRPr sz="1988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5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95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GB"/>
              <a:t>Nokia internal use</a:t>
            </a:r>
            <a:endParaRPr lang="en-US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C836EC8E-5F24-405B-AED7-22B300A206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600" y="280991"/>
            <a:ext cx="8308800" cy="30935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head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84022782"/>
      </p:ext>
    </p:extLst>
  </p:cSld>
  <p:clrMapOvr>
    <a:masterClrMapping/>
  </p:clrMapOvr>
  <p:transition spd="slow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.6 - 3x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270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39376B1-B82D-56A6-933E-41123F9F3F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1BB609BD-442B-5330-C543-B4F748F8321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22000" y="1260000"/>
            <a:ext cx="270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E664E6E2-580B-C0EC-85A4-858E1F7656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26662" y="1260000"/>
            <a:ext cx="2697658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3C89AA2-17C4-2311-08AF-1321E11749F6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2713EB45-843B-9A1C-345B-468536A7E05D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9" name="Footer Placeholder 2">
            <a:extLst>
              <a:ext uri="{FF2B5EF4-FFF2-40B4-BE49-F238E27FC236}">
                <a16:creationId xmlns:a16="http://schemas.microsoft.com/office/drawing/2014/main" id="{C77A4B8F-49F4-2929-427A-DF7B92A561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Nokia internal use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437997CD-4103-2DAB-42E2-A0C1AB9ED585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496995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.7 - 4x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39376B1-B82D-56A6-933E-41123F9F3F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1BB609BD-442B-5330-C543-B4F748F8321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26332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E664E6E2-580B-C0EC-85A4-858E1F7656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35326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9C0B71B1-8B5E-9FD1-A1AD-D5AD8A665FF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744320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7523A0E-155F-824D-4618-C556416C4BCE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3DCBE36C-4C66-1188-03D3-624F2E47A387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0" name="Footer Placeholder 2">
            <a:extLst>
              <a:ext uri="{FF2B5EF4-FFF2-40B4-BE49-F238E27FC236}">
                <a16:creationId xmlns:a16="http://schemas.microsoft.com/office/drawing/2014/main" id="{45644240-BAFF-42B5-1A7E-4A3EC1F84D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Nokia internal use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0C9C3BBB-89C3-3953-0E5E-9544F2E7BD2C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78519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.8 - Numb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427494-DD66-A478-7CF6-11C578BC21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600" y="1260000"/>
            <a:ext cx="8308800" cy="3118980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200">
                <a:solidFill>
                  <a:schemeClr val="tx2"/>
                </a:solidFill>
              </a:defRPr>
            </a:lvl1pPr>
            <a:lvl2pPr marL="40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2"/>
              <a:defRPr sz="1200">
                <a:solidFill>
                  <a:schemeClr val="tx2"/>
                </a:solidFill>
              </a:defRPr>
            </a:lvl2pPr>
            <a:lvl3pPr marL="58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3"/>
              <a:defRPr sz="1200">
                <a:solidFill>
                  <a:schemeClr val="tx2"/>
                </a:solidFill>
              </a:defRPr>
            </a:lvl3pPr>
            <a:lvl4pPr marL="76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4"/>
              <a:defRPr sz="1200">
                <a:solidFill>
                  <a:schemeClr val="tx2"/>
                </a:solidFill>
              </a:defRPr>
            </a:lvl4pPr>
            <a:lvl5pPr marL="95715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5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ext here</a:t>
            </a:r>
          </a:p>
          <a:p>
            <a:pPr lvl="1"/>
            <a:r>
              <a:rPr lang="en-US" dirty="0"/>
              <a:t>Text here</a:t>
            </a:r>
          </a:p>
          <a:p>
            <a:pPr lvl="2"/>
            <a:r>
              <a:rPr lang="en-US" dirty="0"/>
              <a:t>Text here</a:t>
            </a:r>
          </a:p>
          <a:p>
            <a:pPr lvl="3"/>
            <a:r>
              <a:rPr lang="en-US" dirty="0"/>
              <a:t>Text here</a:t>
            </a:r>
          </a:p>
          <a:p>
            <a:pPr marL="957150" marR="0" lvl="4" indent="-2286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tabLst/>
              <a:defRPr/>
            </a:pPr>
            <a:r>
              <a:rPr lang="en-US" dirty="0"/>
              <a:t>Text her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E5F6DF56-1BC2-2F0B-C57B-C1D817B1491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2138E23A-1A2B-4FC2-057E-864010EF96E0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5417762A-54B1-36A8-F29E-69737B3F61FF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7" name="Footer Placeholder 2">
            <a:extLst>
              <a:ext uri="{FF2B5EF4-FFF2-40B4-BE49-F238E27FC236}">
                <a16:creationId xmlns:a16="http://schemas.microsoft.com/office/drawing/2014/main" id="{395D9105-CDC3-7AF1-1035-8F0BB27B98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Nokia internal use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C80623DA-960F-6669-DFB8-70903213D9F8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314687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.9 -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60A88A15-3ABC-3274-AAF4-8A412DDB8F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4B403941-CFEA-9A2F-6625-4961A6C63DB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400" baseline="0">
                <a:solidFill>
                  <a:schemeClr val="accent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4AB3D1D-D95D-CC81-FF15-1A1F6BE049F4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AD043C3F-DBA3-47D4-A317-9E02DADB3E07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97253B20-AD10-1261-4A70-76072ED404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Nokia internal use</a:t>
            </a:r>
            <a:endParaRPr lang="en-US" dirty="0"/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31386DAF-78F1-64A8-A51B-3B6BA0A20C9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161471"/>
            <a:ext cx="8308800" cy="11084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aseline="0">
                <a:solidFill>
                  <a:schemeClr val="accent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9E83A83-9695-3236-1E22-B800EBB14F54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990224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22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5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418916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726" r:id="rId2"/>
    <p:sldLayoutId id="2147483776" r:id="rId3"/>
    <p:sldLayoutId id="2147483778" r:id="rId4"/>
    <p:sldLayoutId id="2147483779" r:id="rId5"/>
    <p:sldLayoutId id="2147483780" r:id="rId6"/>
    <p:sldLayoutId id="2147483781" r:id="rId7"/>
    <p:sldLayoutId id="2147483777" r:id="rId8"/>
    <p:sldLayoutId id="2147483796" r:id="rId9"/>
    <p:sldLayoutId id="2147483763" r:id="rId10"/>
    <p:sldLayoutId id="2147483794" r:id="rId11"/>
    <p:sldLayoutId id="2147483775" r:id="rId12"/>
    <p:sldLayoutId id="2147483795" r:id="rId13"/>
    <p:sldLayoutId id="2147483816" r:id="rId14"/>
    <p:sldLayoutId id="2147483817" r:id="rId15"/>
    <p:sldLayoutId id="2147483818" r:id="rId16"/>
    <p:sldLayoutId id="2147483819" r:id="rId17"/>
    <p:sldLayoutId id="2147483820" r:id="rId18"/>
    <p:sldLayoutId id="2147483821" r:id="rId19"/>
    <p:sldLayoutId id="2147483822" r:id="rId20"/>
    <p:sldLayoutId id="2147483823" r:id="rId21"/>
    <p:sldLayoutId id="2147483824" r:id="rId22"/>
    <p:sldLayoutId id="2147483753" r:id="rId23"/>
    <p:sldLayoutId id="2147483757" r:id="rId24"/>
    <p:sldLayoutId id="2147483758" r:id="rId25"/>
    <p:sldLayoutId id="2147483815" r:id="rId26"/>
    <p:sldLayoutId id="2147483760" r:id="rId27"/>
    <p:sldLayoutId id="2147483761" r:id="rId28"/>
    <p:sldLayoutId id="2147483762" r:id="rId29"/>
    <p:sldLayoutId id="2147483774" r:id="rId30"/>
    <p:sldLayoutId id="2147483755" r:id="rId31"/>
    <p:sldLayoutId id="2147483756" r:id="rId32"/>
    <p:sldLayoutId id="2147483793" r:id="rId33"/>
    <p:sldLayoutId id="2147483814" r:id="rId34"/>
    <p:sldLayoutId id="2147483751" r:id="rId35"/>
    <p:sldLayoutId id="2147483746" r:id="rId36"/>
    <p:sldLayoutId id="2147483791" r:id="rId37"/>
    <p:sldLayoutId id="2147483749" r:id="rId38"/>
    <p:sldLayoutId id="2147483747" r:id="rId39"/>
    <p:sldLayoutId id="2147483748" r:id="rId40"/>
    <p:sldLayoutId id="2147483750" r:id="rId41"/>
    <p:sldLayoutId id="2147483772" r:id="rId42"/>
    <p:sldLayoutId id="2147483677" r:id="rId43"/>
    <p:sldLayoutId id="2147483792" r:id="rId44"/>
    <p:sldLayoutId id="2147483833" r:id="rId45"/>
    <p:sldLayoutId id="2147483769" r:id="rId46"/>
    <p:sldLayoutId id="2147483773" r:id="rId47"/>
    <p:sldLayoutId id="2147483771" r:id="rId48"/>
    <p:sldLayoutId id="2147483679" r:id="rId49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8751686-9367-4189-91D9-91E4C614B6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7" imgH="277" progId="TCLayout.ActiveDocument.1">
                  <p:embed/>
                </p:oleObj>
              </mc:Choice>
              <mc:Fallback>
                <p:oleObj name="think-cell Slide" r:id="rId4" imgW="277" imgH="27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8751686-9367-4189-91D9-91E4C614B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87D0E1A0-C19A-4DB8-BA1F-3D71830D1A93}"/>
              </a:ext>
            </a:extLst>
          </p:cNvPr>
          <p:cNvSpPr txBox="1"/>
          <p:nvPr userDrawn="1"/>
        </p:nvSpPr>
        <p:spPr>
          <a:xfrm>
            <a:off x="755776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US"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2 Nokia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7920C8E0-2BA3-45B9-8A9F-1B9E59157439}"/>
              </a:ext>
            </a:extLst>
          </p:cNvPr>
          <p:cNvSpPr txBox="1">
            <a:spLocks/>
          </p:cNvSpPr>
          <p:nvPr userDrawn="1"/>
        </p:nvSpPr>
        <p:spPr>
          <a:xfrm>
            <a:off x="419102" y="4816800"/>
            <a:ext cx="252000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141D57DB-1EB7-4DFA-9100-436A54579F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Nokia internal us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8C5FB64-385A-4093-B8B2-2F00FF97827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7226" y="4651000"/>
            <a:ext cx="1008112" cy="424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12590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2" r:id="rId1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/>
          <p:cNvSpPr txBox="1"/>
          <p:nvPr userDrawn="1"/>
        </p:nvSpPr>
        <p:spPr>
          <a:xfrm>
            <a:off x="755777" y="4816698"/>
            <a:ext cx="797771" cy="12234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US" sz="795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0 Nokia</a:t>
            </a:r>
          </a:p>
        </p:txBody>
      </p:sp>
      <p:sp>
        <p:nvSpPr>
          <p:cNvPr id="21" name="Slide Number Placeholder 5"/>
          <p:cNvSpPr txBox="1">
            <a:spLocks/>
          </p:cNvSpPr>
          <p:nvPr userDrawn="1"/>
        </p:nvSpPr>
        <p:spPr>
          <a:xfrm>
            <a:off x="419103" y="4816860"/>
            <a:ext cx="252000" cy="12234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795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994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3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3999" y="4816800"/>
            <a:ext cx="2628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95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GB"/>
              <a:t>Nokia internal use</a:t>
            </a:r>
            <a:endParaRPr lang="en-US"/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75E626D8-2123-46C2-96D3-42E300B759F1}"/>
              </a:ext>
            </a:extLst>
          </p:cNvPr>
          <p:cNvGrpSpPr/>
          <p:nvPr userDrawn="1"/>
        </p:nvGrpSpPr>
        <p:grpSpPr>
          <a:xfrm>
            <a:off x="-179387" y="-147638"/>
            <a:ext cx="9503900" cy="5464226"/>
            <a:chOff x="-179388" y="-147638"/>
            <a:chExt cx="9503900" cy="5464226"/>
          </a:xfrm>
        </p:grpSpPr>
        <p:sp>
          <p:nvSpPr>
            <p:cNvPr id="10" name="Line 9">
              <a:extLst>
                <a:ext uri="{FF2B5EF4-FFF2-40B4-BE49-F238E27FC236}">
                  <a16:creationId xmlns:a16="http://schemas.microsoft.com/office/drawing/2014/main" id="{63EF7259-2A6E-47F4-9715-664693E20E8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-179388" y="593725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</p:spPr>
          <p:txBody>
            <a:bodyPr anchor="ctr"/>
            <a:lstStyle/>
            <a:p>
              <a:pPr>
                <a:defRPr/>
              </a:pPr>
              <a:endParaRPr lang="en-GB" sz="1800">
                <a:solidFill>
                  <a:srgbClr val="124191"/>
                </a:solidFill>
                <a:latin typeface="Nokia Pure Headline Light"/>
              </a:endParaRPr>
            </a:p>
          </p:txBody>
        </p:sp>
        <p:sp>
          <p:nvSpPr>
            <p:cNvPr id="11" name="Line 12">
              <a:extLst>
                <a:ext uri="{FF2B5EF4-FFF2-40B4-BE49-F238E27FC236}">
                  <a16:creationId xmlns:a16="http://schemas.microsoft.com/office/drawing/2014/main" id="{1D8E364D-F5BC-4555-8591-0635AE39BF6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-179388" y="4914900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</p:spPr>
          <p:txBody>
            <a:bodyPr anchor="ctr"/>
            <a:lstStyle/>
            <a:p>
              <a:pPr>
                <a:defRPr/>
              </a:pPr>
              <a:endParaRPr lang="en-GB" sz="180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12" name="Line 9">
              <a:extLst>
                <a:ext uri="{FF2B5EF4-FFF2-40B4-BE49-F238E27FC236}">
                  <a16:creationId xmlns:a16="http://schemas.microsoft.com/office/drawing/2014/main" id="{9F6CEECC-3E35-46E0-9E65-FCA64664C5D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-179388" y="846138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</p:spPr>
          <p:txBody>
            <a:bodyPr anchor="ctr"/>
            <a:lstStyle/>
            <a:p>
              <a:pPr>
                <a:defRPr/>
              </a:pPr>
              <a:endParaRPr lang="en-GB" sz="180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13" name="Line 10">
              <a:extLst>
                <a:ext uri="{FF2B5EF4-FFF2-40B4-BE49-F238E27FC236}">
                  <a16:creationId xmlns:a16="http://schemas.microsoft.com/office/drawing/2014/main" id="{14A357EE-267E-40D6-A629-729DDE1F9FB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-179388" y="1092200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</p:spPr>
          <p:txBody>
            <a:bodyPr anchor="ctr"/>
            <a:lstStyle/>
            <a:p>
              <a:pPr>
                <a:defRPr/>
              </a:pPr>
              <a:endParaRPr lang="en-GB" sz="180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14" name="Line 12">
              <a:extLst>
                <a:ext uri="{FF2B5EF4-FFF2-40B4-BE49-F238E27FC236}">
                  <a16:creationId xmlns:a16="http://schemas.microsoft.com/office/drawing/2014/main" id="{172C827D-FAC4-489A-AC92-BC41F309988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-179388" y="4665663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</p:spPr>
          <p:txBody>
            <a:bodyPr anchor="ctr"/>
            <a:lstStyle/>
            <a:p>
              <a:pPr>
                <a:defRPr/>
              </a:pPr>
              <a:endParaRPr lang="en-GB" sz="180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15" name="Line 13">
              <a:extLst>
                <a:ext uri="{FF2B5EF4-FFF2-40B4-BE49-F238E27FC236}">
                  <a16:creationId xmlns:a16="http://schemas.microsoft.com/office/drawing/2014/main" id="{B5DD1171-DDCD-4F11-8236-99EDDF20F90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-179388" y="4400550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</p:spPr>
          <p:txBody>
            <a:bodyPr anchor="ctr"/>
            <a:lstStyle/>
            <a:p>
              <a:pPr>
                <a:defRPr/>
              </a:pPr>
              <a:endParaRPr lang="en-GB" sz="180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16" name="Line 14">
              <a:extLst>
                <a:ext uri="{FF2B5EF4-FFF2-40B4-BE49-F238E27FC236}">
                  <a16:creationId xmlns:a16="http://schemas.microsoft.com/office/drawing/2014/main" id="{5CB81B44-1D25-419B-9E45-B2FE2FE467F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-179388" y="280988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</p:spPr>
          <p:txBody>
            <a:bodyPr anchor="ctr"/>
            <a:lstStyle/>
            <a:p>
              <a:pPr>
                <a:defRPr/>
              </a:pPr>
              <a:endParaRPr lang="en-GB" sz="180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17" name="Line 15">
              <a:extLst>
                <a:ext uri="{FF2B5EF4-FFF2-40B4-BE49-F238E27FC236}">
                  <a16:creationId xmlns:a16="http://schemas.microsoft.com/office/drawing/2014/main" id="{77B8D310-F8E6-458A-9601-8C2B24808EA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17513" y="-147638"/>
              <a:ext cx="0" cy="10800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</p:spPr>
          <p:txBody>
            <a:bodyPr anchor="ctr"/>
            <a:lstStyle/>
            <a:p>
              <a:pPr>
                <a:defRPr/>
              </a:pPr>
              <a:endParaRPr lang="en-GB" sz="180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18" name="Line 17">
              <a:extLst>
                <a:ext uri="{FF2B5EF4-FFF2-40B4-BE49-F238E27FC236}">
                  <a16:creationId xmlns:a16="http://schemas.microsoft.com/office/drawing/2014/main" id="{2F9E619D-1FFF-47B7-A2E4-25A7A6E16D4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656638" y="-147638"/>
              <a:ext cx="0" cy="10800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</p:spPr>
          <p:txBody>
            <a:bodyPr anchor="ctr"/>
            <a:lstStyle/>
            <a:p>
              <a:pPr>
                <a:defRPr/>
              </a:pPr>
              <a:endParaRPr lang="en-GB" sz="180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20" name="Line 9">
              <a:extLst>
                <a:ext uri="{FF2B5EF4-FFF2-40B4-BE49-F238E27FC236}">
                  <a16:creationId xmlns:a16="http://schemas.microsoft.com/office/drawing/2014/main" id="{63CFE0CF-842C-4156-96A9-1955A42F362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 flipV="1">
              <a:off x="9180512" y="593725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</p:spPr>
          <p:txBody>
            <a:bodyPr anchor="ctr"/>
            <a:lstStyle/>
            <a:p>
              <a:pPr>
                <a:defRPr/>
              </a:pPr>
              <a:endParaRPr lang="en-GB" sz="1800">
                <a:solidFill>
                  <a:srgbClr val="124191"/>
                </a:solidFill>
                <a:latin typeface="Nokia Pure Headline Light"/>
              </a:endParaRPr>
            </a:p>
          </p:txBody>
        </p:sp>
        <p:sp>
          <p:nvSpPr>
            <p:cNvPr id="22" name="Line 12">
              <a:extLst>
                <a:ext uri="{FF2B5EF4-FFF2-40B4-BE49-F238E27FC236}">
                  <a16:creationId xmlns:a16="http://schemas.microsoft.com/office/drawing/2014/main" id="{09A43713-E8A6-4848-ABAC-E686CBEF90A8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 flipV="1">
              <a:off x="9180512" y="4914900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</p:spPr>
          <p:txBody>
            <a:bodyPr anchor="ctr"/>
            <a:lstStyle/>
            <a:p>
              <a:pPr>
                <a:defRPr/>
              </a:pPr>
              <a:endParaRPr lang="en-GB" sz="180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24" name="Line 9">
              <a:extLst>
                <a:ext uri="{FF2B5EF4-FFF2-40B4-BE49-F238E27FC236}">
                  <a16:creationId xmlns:a16="http://schemas.microsoft.com/office/drawing/2014/main" id="{A23F96BE-AB65-49CE-B033-4C2B704D54F4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 flipV="1">
              <a:off x="9180512" y="846138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</p:spPr>
          <p:txBody>
            <a:bodyPr anchor="ctr"/>
            <a:lstStyle/>
            <a:p>
              <a:pPr>
                <a:defRPr/>
              </a:pPr>
              <a:endParaRPr lang="en-GB" sz="180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25" name="Line 10">
              <a:extLst>
                <a:ext uri="{FF2B5EF4-FFF2-40B4-BE49-F238E27FC236}">
                  <a16:creationId xmlns:a16="http://schemas.microsoft.com/office/drawing/2014/main" id="{49456F82-7FAD-4DA8-B4C4-BE676C68199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 flipH="1">
              <a:off x="9180512" y="1092200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</p:spPr>
          <p:txBody>
            <a:bodyPr anchor="ctr"/>
            <a:lstStyle/>
            <a:p>
              <a:pPr>
                <a:defRPr/>
              </a:pPr>
              <a:endParaRPr lang="en-GB" sz="180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26" name="Line 12">
              <a:extLst>
                <a:ext uri="{FF2B5EF4-FFF2-40B4-BE49-F238E27FC236}">
                  <a16:creationId xmlns:a16="http://schemas.microsoft.com/office/drawing/2014/main" id="{BEBED2BB-2938-410A-BCEA-9C530C4696C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 flipV="1">
              <a:off x="9180512" y="4665663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</p:spPr>
          <p:txBody>
            <a:bodyPr anchor="ctr"/>
            <a:lstStyle/>
            <a:p>
              <a:pPr>
                <a:defRPr/>
              </a:pPr>
              <a:endParaRPr lang="en-GB" sz="180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27" name="Line 13">
              <a:extLst>
                <a:ext uri="{FF2B5EF4-FFF2-40B4-BE49-F238E27FC236}">
                  <a16:creationId xmlns:a16="http://schemas.microsoft.com/office/drawing/2014/main" id="{B29057E5-40CF-4341-9ED6-795E8FCBED29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 flipH="1" flipV="1">
              <a:off x="9180512" y="4400550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</p:spPr>
          <p:txBody>
            <a:bodyPr anchor="ctr"/>
            <a:lstStyle/>
            <a:p>
              <a:pPr>
                <a:defRPr/>
              </a:pPr>
              <a:endParaRPr lang="en-GB" sz="180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28" name="Line 14">
              <a:extLst>
                <a:ext uri="{FF2B5EF4-FFF2-40B4-BE49-F238E27FC236}">
                  <a16:creationId xmlns:a16="http://schemas.microsoft.com/office/drawing/2014/main" id="{9EAABA67-27A4-40A1-963F-298DCD2EAB3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80512" y="280988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</p:spPr>
          <p:txBody>
            <a:bodyPr anchor="ctr"/>
            <a:lstStyle/>
            <a:p>
              <a:pPr>
                <a:defRPr/>
              </a:pPr>
              <a:endParaRPr lang="en-GB" sz="180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29" name="Line 15">
              <a:extLst>
                <a:ext uri="{FF2B5EF4-FFF2-40B4-BE49-F238E27FC236}">
                  <a16:creationId xmlns:a16="http://schemas.microsoft.com/office/drawing/2014/main" id="{365D9848-FC41-4F8E-AE01-181684EE17C8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 flipH="1">
              <a:off x="417513" y="5208588"/>
              <a:ext cx="0" cy="10800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</p:spPr>
          <p:txBody>
            <a:bodyPr anchor="ctr"/>
            <a:lstStyle/>
            <a:p>
              <a:pPr>
                <a:defRPr/>
              </a:pPr>
              <a:endParaRPr lang="en-GB" sz="180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30" name="Line 17">
              <a:extLst>
                <a:ext uri="{FF2B5EF4-FFF2-40B4-BE49-F238E27FC236}">
                  <a16:creationId xmlns:a16="http://schemas.microsoft.com/office/drawing/2014/main" id="{ECD0CD1B-0DE4-4BA2-9715-10D5F6FB1561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8656638" y="5208588"/>
              <a:ext cx="0" cy="10800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</p:spPr>
          <p:txBody>
            <a:bodyPr anchor="ctr"/>
            <a:lstStyle/>
            <a:p>
              <a:pPr>
                <a:defRPr/>
              </a:pPr>
              <a:endParaRPr lang="en-GB" sz="180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</p:grpSp>
      <p:sp>
        <p:nvSpPr>
          <p:cNvPr id="31" name="Freihandform: Form 30">
            <a:extLst>
              <a:ext uri="{FF2B5EF4-FFF2-40B4-BE49-F238E27FC236}">
                <a16:creationId xmlns:a16="http://schemas.microsoft.com/office/drawing/2014/main" id="{C9F7C012-EBCF-4BA4-9A27-93B7A3350C6A}"/>
              </a:ext>
            </a:extLst>
          </p:cNvPr>
          <p:cNvSpPr>
            <a:spLocks noChangeAspect="1"/>
          </p:cNvSpPr>
          <p:nvPr userDrawn="1"/>
        </p:nvSpPr>
        <p:spPr>
          <a:xfrm>
            <a:off x="8035126" y="4805996"/>
            <a:ext cx="690457" cy="112293"/>
          </a:xfrm>
          <a:custGeom>
            <a:avLst/>
            <a:gdLst>
              <a:gd name="connsiteX0" fmla="*/ 6960911 w 7924447"/>
              <a:gd name="connsiteY0" fmla="*/ 321135 h 1288800"/>
              <a:gd name="connsiteX1" fmla="*/ 6719487 w 7924447"/>
              <a:gd name="connsiteY1" fmla="*/ 779851 h 1288800"/>
              <a:gd name="connsiteX2" fmla="*/ 7204868 w 7924447"/>
              <a:gd name="connsiteY2" fmla="*/ 779851 h 1288800"/>
              <a:gd name="connsiteX3" fmla="*/ 2388009 w 7924447"/>
              <a:gd name="connsiteY3" fmla="*/ 315532 h 1288800"/>
              <a:gd name="connsiteX4" fmla="*/ 2313866 w 7924447"/>
              <a:gd name="connsiteY4" fmla="*/ 389523 h 1288800"/>
              <a:gd name="connsiteX5" fmla="*/ 2313866 w 7924447"/>
              <a:gd name="connsiteY5" fmla="*/ 895278 h 1288800"/>
              <a:gd name="connsiteX6" fmla="*/ 2388009 w 7924447"/>
              <a:gd name="connsiteY6" fmla="*/ 969269 h 1288800"/>
              <a:gd name="connsiteX7" fmla="*/ 3186375 w 7924447"/>
              <a:gd name="connsiteY7" fmla="*/ 969269 h 1288800"/>
              <a:gd name="connsiteX8" fmla="*/ 3260517 w 7924447"/>
              <a:gd name="connsiteY8" fmla="*/ 895278 h 1288800"/>
              <a:gd name="connsiteX9" fmla="*/ 3260517 w 7924447"/>
              <a:gd name="connsiteY9" fmla="*/ 389523 h 1288800"/>
              <a:gd name="connsiteX10" fmla="*/ 3186375 w 7924447"/>
              <a:gd name="connsiteY10" fmla="*/ 315532 h 1288800"/>
              <a:gd name="connsiteX11" fmla="*/ 5545757 w 7924447"/>
              <a:gd name="connsiteY11" fmla="*/ 14419 h 1288800"/>
              <a:gd name="connsiteX12" fmla="*/ 5939564 w 7924447"/>
              <a:gd name="connsiteY12" fmla="*/ 14419 h 1288800"/>
              <a:gd name="connsiteX13" fmla="*/ 5939564 w 7924447"/>
              <a:gd name="connsiteY13" fmla="*/ 1273030 h 1288800"/>
              <a:gd name="connsiteX14" fmla="*/ 5545757 w 7924447"/>
              <a:gd name="connsiteY14" fmla="*/ 1273030 h 1288800"/>
              <a:gd name="connsiteX15" fmla="*/ 3781683 w 7924447"/>
              <a:gd name="connsiteY15" fmla="*/ 14419 h 1288800"/>
              <a:gd name="connsiteX16" fmla="*/ 4175490 w 7924447"/>
              <a:gd name="connsiteY16" fmla="*/ 14419 h 1288800"/>
              <a:gd name="connsiteX17" fmla="*/ 4175490 w 7924447"/>
              <a:gd name="connsiteY17" fmla="*/ 1273030 h 1288800"/>
              <a:gd name="connsiteX18" fmla="*/ 3781683 w 7924447"/>
              <a:gd name="connsiteY18" fmla="*/ 1273030 h 1288800"/>
              <a:gd name="connsiteX19" fmla="*/ 6726931 w 7924447"/>
              <a:gd name="connsiteY19" fmla="*/ 14418 h 1288800"/>
              <a:gd name="connsiteX20" fmla="*/ 7216062 w 7924447"/>
              <a:gd name="connsiteY20" fmla="*/ 14418 h 1288800"/>
              <a:gd name="connsiteX21" fmla="*/ 7924447 w 7924447"/>
              <a:gd name="connsiteY21" fmla="*/ 1273030 h 1288800"/>
              <a:gd name="connsiteX22" fmla="*/ 7467155 w 7924447"/>
              <a:gd name="connsiteY22" fmla="*/ 1273030 h 1288800"/>
              <a:gd name="connsiteX23" fmla="*/ 7349796 w 7924447"/>
              <a:gd name="connsiteY23" fmla="*/ 1052360 h 1288800"/>
              <a:gd name="connsiteX24" fmla="*/ 6576065 w 7924447"/>
              <a:gd name="connsiteY24" fmla="*/ 1052360 h 1288800"/>
              <a:gd name="connsiteX25" fmla="*/ 6459926 w 7924447"/>
              <a:gd name="connsiteY25" fmla="*/ 1273030 h 1288800"/>
              <a:gd name="connsiteX26" fmla="*/ 6011821 w 7924447"/>
              <a:gd name="connsiteY26" fmla="*/ 1273030 h 1288800"/>
              <a:gd name="connsiteX27" fmla="*/ 139469 w 7924447"/>
              <a:gd name="connsiteY27" fmla="*/ 14418 h 1288800"/>
              <a:gd name="connsiteX28" fmla="*/ 657720 w 7924447"/>
              <a:gd name="connsiteY28" fmla="*/ 14418 h 1288800"/>
              <a:gd name="connsiteX29" fmla="*/ 1414558 w 7924447"/>
              <a:gd name="connsiteY29" fmla="*/ 955333 h 1288800"/>
              <a:gd name="connsiteX30" fmla="*/ 1414558 w 7924447"/>
              <a:gd name="connsiteY30" fmla="*/ 14420 h 1288800"/>
              <a:gd name="connsiteX31" fmla="*/ 1793219 w 7924447"/>
              <a:gd name="connsiteY31" fmla="*/ 14420 h 1288800"/>
              <a:gd name="connsiteX32" fmla="*/ 1793219 w 7924447"/>
              <a:gd name="connsiteY32" fmla="*/ 1273030 h 1288800"/>
              <a:gd name="connsiteX33" fmla="*/ 1151296 w 7924447"/>
              <a:gd name="connsiteY33" fmla="*/ 1273030 h 1288800"/>
              <a:gd name="connsiteX34" fmla="*/ 378661 w 7924447"/>
              <a:gd name="connsiteY34" fmla="*/ 311950 h 1288800"/>
              <a:gd name="connsiteX35" fmla="*/ 378661 w 7924447"/>
              <a:gd name="connsiteY35" fmla="*/ 1273030 h 1288800"/>
              <a:gd name="connsiteX36" fmla="*/ 0 w 7924447"/>
              <a:gd name="connsiteY36" fmla="*/ 1273030 h 1288800"/>
              <a:gd name="connsiteX37" fmla="*/ 0 w 7924447"/>
              <a:gd name="connsiteY37" fmla="*/ 14420 h 1288800"/>
              <a:gd name="connsiteX38" fmla="*/ 139470 w 7924447"/>
              <a:gd name="connsiteY38" fmla="*/ 14420 h 1288800"/>
              <a:gd name="connsiteX39" fmla="*/ 4850522 w 7924447"/>
              <a:gd name="connsiteY39" fmla="*/ 14418 h 1288800"/>
              <a:gd name="connsiteX40" fmla="*/ 5385591 w 7924447"/>
              <a:gd name="connsiteY40" fmla="*/ 14418 h 1288800"/>
              <a:gd name="connsiteX41" fmla="*/ 4668730 w 7924447"/>
              <a:gd name="connsiteY41" fmla="*/ 603446 h 1288800"/>
              <a:gd name="connsiteX42" fmla="*/ 5474313 w 7924447"/>
              <a:gd name="connsiteY42" fmla="*/ 1273029 h 1288800"/>
              <a:gd name="connsiteX43" fmla="*/ 4911442 w 7924447"/>
              <a:gd name="connsiteY43" fmla="*/ 1273029 h 1288800"/>
              <a:gd name="connsiteX44" fmla="*/ 4178297 w 7924447"/>
              <a:gd name="connsiteY44" fmla="*/ 616444 h 1288800"/>
              <a:gd name="connsiteX45" fmla="*/ 2308976 w 7924447"/>
              <a:gd name="connsiteY45" fmla="*/ 0 h 1288800"/>
              <a:gd name="connsiteX46" fmla="*/ 3257392 w 7924447"/>
              <a:gd name="connsiteY46" fmla="*/ 0 h 1288800"/>
              <a:gd name="connsiteX47" fmla="*/ 3620245 w 7924447"/>
              <a:gd name="connsiteY47" fmla="*/ 334112 h 1288800"/>
              <a:gd name="connsiteX48" fmla="*/ 3620245 w 7924447"/>
              <a:gd name="connsiteY48" fmla="*/ 950689 h 1288800"/>
              <a:gd name="connsiteX49" fmla="*/ 3261400 w 7924447"/>
              <a:gd name="connsiteY49" fmla="*/ 1284801 h 1288800"/>
              <a:gd name="connsiteX50" fmla="*/ 2333021 w 7924447"/>
              <a:gd name="connsiteY50" fmla="*/ 1288800 h 1288800"/>
              <a:gd name="connsiteX51" fmla="*/ 1954138 w 7924447"/>
              <a:gd name="connsiteY51" fmla="*/ 950689 h 1288800"/>
              <a:gd name="connsiteX52" fmla="*/ 1954138 w 7924447"/>
              <a:gd name="connsiteY52" fmla="*/ 334112 h 1288800"/>
              <a:gd name="connsiteX53" fmla="*/ 2308976 w 7924447"/>
              <a:gd name="connsiteY53" fmla="*/ 0 h 128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7924447" h="1288800">
                <a:moveTo>
                  <a:pt x="6960911" y="321135"/>
                </a:moveTo>
                <a:lnTo>
                  <a:pt x="6719487" y="779851"/>
                </a:lnTo>
                <a:lnTo>
                  <a:pt x="7204868" y="779851"/>
                </a:lnTo>
                <a:close/>
                <a:moveTo>
                  <a:pt x="2388009" y="315532"/>
                </a:moveTo>
                <a:cubicBezTo>
                  <a:pt x="2347061" y="315532"/>
                  <a:pt x="2313866" y="348659"/>
                  <a:pt x="2313866" y="389523"/>
                </a:cubicBezTo>
                <a:lnTo>
                  <a:pt x="2313866" y="895278"/>
                </a:lnTo>
                <a:cubicBezTo>
                  <a:pt x="2313866" y="936142"/>
                  <a:pt x="2347061" y="969269"/>
                  <a:pt x="2388009" y="969269"/>
                </a:cubicBezTo>
                <a:lnTo>
                  <a:pt x="3186375" y="969269"/>
                </a:lnTo>
                <a:cubicBezTo>
                  <a:pt x="3227323" y="969269"/>
                  <a:pt x="3260517" y="936142"/>
                  <a:pt x="3260517" y="895278"/>
                </a:cubicBezTo>
                <a:lnTo>
                  <a:pt x="3260517" y="389523"/>
                </a:lnTo>
                <a:cubicBezTo>
                  <a:pt x="3260517" y="348659"/>
                  <a:pt x="3227323" y="315532"/>
                  <a:pt x="3186375" y="315532"/>
                </a:cubicBezTo>
                <a:close/>
                <a:moveTo>
                  <a:pt x="5545757" y="14419"/>
                </a:moveTo>
                <a:lnTo>
                  <a:pt x="5939564" y="14419"/>
                </a:lnTo>
                <a:lnTo>
                  <a:pt x="5939564" y="1273030"/>
                </a:lnTo>
                <a:lnTo>
                  <a:pt x="5545757" y="1273030"/>
                </a:lnTo>
                <a:close/>
                <a:moveTo>
                  <a:pt x="3781683" y="14419"/>
                </a:moveTo>
                <a:lnTo>
                  <a:pt x="4175490" y="14419"/>
                </a:lnTo>
                <a:lnTo>
                  <a:pt x="4175490" y="1273030"/>
                </a:lnTo>
                <a:lnTo>
                  <a:pt x="3781683" y="1273030"/>
                </a:lnTo>
                <a:close/>
                <a:moveTo>
                  <a:pt x="6726931" y="14418"/>
                </a:moveTo>
                <a:lnTo>
                  <a:pt x="7216062" y="14418"/>
                </a:lnTo>
                <a:lnTo>
                  <a:pt x="7924447" y="1273030"/>
                </a:lnTo>
                <a:lnTo>
                  <a:pt x="7467155" y="1273030"/>
                </a:lnTo>
                <a:lnTo>
                  <a:pt x="7349796" y="1052360"/>
                </a:lnTo>
                <a:lnTo>
                  <a:pt x="6576065" y="1052360"/>
                </a:lnTo>
                <a:lnTo>
                  <a:pt x="6459926" y="1273030"/>
                </a:lnTo>
                <a:lnTo>
                  <a:pt x="6011821" y="1273030"/>
                </a:lnTo>
                <a:close/>
                <a:moveTo>
                  <a:pt x="139469" y="14418"/>
                </a:moveTo>
                <a:lnTo>
                  <a:pt x="657720" y="14418"/>
                </a:lnTo>
                <a:lnTo>
                  <a:pt x="1414558" y="955333"/>
                </a:lnTo>
                <a:lnTo>
                  <a:pt x="1414558" y="14420"/>
                </a:lnTo>
                <a:lnTo>
                  <a:pt x="1793219" y="14420"/>
                </a:lnTo>
                <a:lnTo>
                  <a:pt x="1793219" y="1273030"/>
                </a:lnTo>
                <a:lnTo>
                  <a:pt x="1151296" y="1273030"/>
                </a:lnTo>
                <a:lnTo>
                  <a:pt x="378661" y="311950"/>
                </a:lnTo>
                <a:lnTo>
                  <a:pt x="378661" y="1273030"/>
                </a:lnTo>
                <a:lnTo>
                  <a:pt x="0" y="1273030"/>
                </a:lnTo>
                <a:lnTo>
                  <a:pt x="0" y="14420"/>
                </a:lnTo>
                <a:lnTo>
                  <a:pt x="139470" y="14420"/>
                </a:lnTo>
                <a:close/>
                <a:moveTo>
                  <a:pt x="4850522" y="14418"/>
                </a:moveTo>
                <a:lnTo>
                  <a:pt x="5385591" y="14418"/>
                </a:lnTo>
                <a:lnTo>
                  <a:pt x="4668730" y="603446"/>
                </a:lnTo>
                <a:lnTo>
                  <a:pt x="5474313" y="1273029"/>
                </a:lnTo>
                <a:lnTo>
                  <a:pt x="4911442" y="1273029"/>
                </a:lnTo>
                <a:lnTo>
                  <a:pt x="4178297" y="616444"/>
                </a:lnTo>
                <a:close/>
                <a:moveTo>
                  <a:pt x="2308976" y="0"/>
                </a:moveTo>
                <a:lnTo>
                  <a:pt x="3257392" y="0"/>
                </a:lnTo>
                <a:cubicBezTo>
                  <a:pt x="3442298" y="0"/>
                  <a:pt x="3624253" y="119593"/>
                  <a:pt x="3620245" y="334112"/>
                </a:cubicBezTo>
                <a:lnTo>
                  <a:pt x="3620245" y="950689"/>
                </a:lnTo>
                <a:cubicBezTo>
                  <a:pt x="3620245" y="1159210"/>
                  <a:pt x="3446305" y="1284801"/>
                  <a:pt x="3261400" y="1284801"/>
                </a:cubicBezTo>
                <a:lnTo>
                  <a:pt x="2333021" y="1288800"/>
                </a:lnTo>
                <a:cubicBezTo>
                  <a:pt x="2148115" y="1286801"/>
                  <a:pt x="1954138" y="1181205"/>
                  <a:pt x="1954138" y="950689"/>
                </a:cubicBezTo>
                <a:lnTo>
                  <a:pt x="1954138" y="334112"/>
                </a:lnTo>
                <a:cubicBezTo>
                  <a:pt x="1962153" y="113594"/>
                  <a:pt x="2124071" y="0"/>
                  <a:pt x="2308976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 rtlCol="0" anchor="ctr">
            <a:noAutofit/>
          </a:bodyPr>
          <a:lstStyle/>
          <a:p>
            <a:pPr marL="0" indent="0" algn="ctr">
              <a:lnSpc>
                <a:spcPct val="90000"/>
              </a:lnSpc>
              <a:buNone/>
            </a:pPr>
            <a:endParaRPr lang="en-US" sz="1800">
              <a:latin typeface="+mn-lt"/>
            </a:endParaRPr>
          </a:p>
        </p:txBody>
      </p:sp>
      <p:sp>
        <p:nvSpPr>
          <p:cNvPr id="34" name="Title Placeholder 1">
            <a:extLst>
              <a:ext uri="{FF2B5EF4-FFF2-40B4-BE49-F238E27FC236}">
                <a16:creationId xmlns:a16="http://schemas.microsoft.com/office/drawing/2014/main" id="{4F82A268-B90C-4847-B1A7-4E3401903482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17600" y="280991"/>
            <a:ext cx="8308800" cy="309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1569727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8" r:id="rId1"/>
  </p:sldLayoutIdLst>
  <p:transition spd="slow">
    <p:fade/>
  </p:transition>
  <p:hf sldNum="0" hdr="0" dt="0"/>
  <p:txStyles>
    <p:titleStyle>
      <a:lvl1pPr algn="l" defTabSz="908685" rtl="0" eaLnBrk="1" latinLnBrk="0" hangingPunct="1">
        <a:spcBef>
          <a:spcPct val="0"/>
        </a:spcBef>
        <a:buNone/>
        <a:defRPr sz="20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0757" indent="-340757" algn="l" defTabSz="908685" rtl="0" eaLnBrk="1" latinLnBrk="0" hangingPunct="1">
        <a:spcBef>
          <a:spcPct val="20000"/>
        </a:spcBef>
        <a:buFont typeface="Arial" panose="020B0604020202020204" pitchFamily="34" charset="0"/>
        <a:buChar char="•"/>
        <a:defRPr sz="3180" kern="1200">
          <a:solidFill>
            <a:schemeClr val="tx1"/>
          </a:solidFill>
          <a:latin typeface="+mn-lt"/>
          <a:ea typeface="+mn-ea"/>
          <a:cs typeface="+mn-cs"/>
        </a:defRPr>
      </a:lvl1pPr>
      <a:lvl2pPr marL="738308" indent="-283964" algn="l" defTabSz="908685" rtl="0" eaLnBrk="1" latinLnBrk="0" hangingPunct="1">
        <a:spcBef>
          <a:spcPct val="20000"/>
        </a:spcBef>
        <a:buFont typeface="Arial" panose="020B0604020202020204" pitchFamily="34" charset="0"/>
        <a:buChar char="–"/>
        <a:defRPr sz="2783" kern="1200">
          <a:solidFill>
            <a:schemeClr val="tx1"/>
          </a:solidFill>
          <a:latin typeface="+mn-lt"/>
          <a:ea typeface="+mn-ea"/>
          <a:cs typeface="+mn-cs"/>
        </a:defRPr>
      </a:lvl2pPr>
      <a:lvl3pPr marL="1135856" indent="-227171" algn="l" defTabSz="908685" rtl="0" eaLnBrk="1" latinLnBrk="0" hangingPunct="1">
        <a:spcBef>
          <a:spcPct val="20000"/>
        </a:spcBef>
        <a:buFont typeface="Arial" panose="020B0604020202020204" pitchFamily="34" charset="0"/>
        <a:buChar char="•"/>
        <a:defRPr sz="2385" kern="1200">
          <a:solidFill>
            <a:schemeClr val="tx1"/>
          </a:solidFill>
          <a:latin typeface="+mn-lt"/>
          <a:ea typeface="+mn-ea"/>
          <a:cs typeface="+mn-cs"/>
        </a:defRPr>
      </a:lvl3pPr>
      <a:lvl4pPr marL="1590200" indent="-227171" algn="l" defTabSz="908685" rtl="0" eaLnBrk="1" latinLnBrk="0" hangingPunct="1">
        <a:spcBef>
          <a:spcPct val="20000"/>
        </a:spcBef>
        <a:buFont typeface="Arial" panose="020B0604020202020204" pitchFamily="34" charset="0"/>
        <a:buChar char="–"/>
        <a:defRPr sz="1988" kern="1200">
          <a:solidFill>
            <a:schemeClr val="tx1"/>
          </a:solidFill>
          <a:latin typeface="+mn-lt"/>
          <a:ea typeface="+mn-ea"/>
          <a:cs typeface="+mn-cs"/>
        </a:defRPr>
      </a:lvl4pPr>
      <a:lvl5pPr marL="2044542" indent="-227171" algn="l" defTabSz="908685" rtl="0" eaLnBrk="1" latinLnBrk="0" hangingPunct="1">
        <a:spcBef>
          <a:spcPct val="20000"/>
        </a:spcBef>
        <a:buFont typeface="Arial" panose="020B0604020202020204" pitchFamily="34" charset="0"/>
        <a:buChar char="»"/>
        <a:defRPr sz="1988" kern="1200">
          <a:solidFill>
            <a:schemeClr val="tx1"/>
          </a:solidFill>
          <a:latin typeface="+mn-lt"/>
          <a:ea typeface="+mn-ea"/>
          <a:cs typeface="+mn-cs"/>
        </a:defRPr>
      </a:lvl5pPr>
      <a:lvl6pPr marL="2498885" indent="-227171" algn="l" defTabSz="908685" rtl="0" eaLnBrk="1" latinLnBrk="0" hangingPunct="1">
        <a:spcBef>
          <a:spcPct val="20000"/>
        </a:spcBef>
        <a:buFont typeface="Arial" panose="020B0604020202020204" pitchFamily="34" charset="0"/>
        <a:buChar char="•"/>
        <a:defRPr sz="1988" kern="1200">
          <a:solidFill>
            <a:schemeClr val="tx1"/>
          </a:solidFill>
          <a:latin typeface="+mn-lt"/>
          <a:ea typeface="+mn-ea"/>
          <a:cs typeface="+mn-cs"/>
        </a:defRPr>
      </a:lvl6pPr>
      <a:lvl7pPr marL="2953227" indent="-227171" algn="l" defTabSz="908685" rtl="0" eaLnBrk="1" latinLnBrk="0" hangingPunct="1">
        <a:spcBef>
          <a:spcPct val="20000"/>
        </a:spcBef>
        <a:buFont typeface="Arial" panose="020B0604020202020204" pitchFamily="34" charset="0"/>
        <a:buChar char="•"/>
        <a:defRPr sz="1988" kern="1200">
          <a:solidFill>
            <a:schemeClr val="tx1"/>
          </a:solidFill>
          <a:latin typeface="+mn-lt"/>
          <a:ea typeface="+mn-ea"/>
          <a:cs typeface="+mn-cs"/>
        </a:defRPr>
      </a:lvl7pPr>
      <a:lvl8pPr marL="3407570" indent="-227171" algn="l" defTabSz="908685" rtl="0" eaLnBrk="1" latinLnBrk="0" hangingPunct="1">
        <a:spcBef>
          <a:spcPct val="20000"/>
        </a:spcBef>
        <a:buFont typeface="Arial" panose="020B0604020202020204" pitchFamily="34" charset="0"/>
        <a:buChar char="•"/>
        <a:defRPr sz="1988" kern="1200">
          <a:solidFill>
            <a:schemeClr val="tx1"/>
          </a:solidFill>
          <a:latin typeface="+mn-lt"/>
          <a:ea typeface="+mn-ea"/>
          <a:cs typeface="+mn-cs"/>
        </a:defRPr>
      </a:lvl8pPr>
      <a:lvl9pPr marL="3861914" indent="-227171" algn="l" defTabSz="908685" rtl="0" eaLnBrk="1" latinLnBrk="0" hangingPunct="1">
        <a:spcBef>
          <a:spcPct val="20000"/>
        </a:spcBef>
        <a:buFont typeface="Arial" panose="020B0604020202020204" pitchFamily="34" charset="0"/>
        <a:buChar char="•"/>
        <a:defRPr sz="198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8685" rtl="0" eaLnBrk="1" latinLnBrk="0" hangingPunct="1">
        <a:defRPr sz="1789" kern="1200">
          <a:solidFill>
            <a:schemeClr val="tx1"/>
          </a:solidFill>
          <a:latin typeface="+mn-lt"/>
          <a:ea typeface="+mn-ea"/>
          <a:cs typeface="+mn-cs"/>
        </a:defRPr>
      </a:lvl1pPr>
      <a:lvl2pPr marL="454343" algn="l" defTabSz="908685" rtl="0" eaLnBrk="1" latinLnBrk="0" hangingPunct="1">
        <a:defRPr sz="1789" kern="1200">
          <a:solidFill>
            <a:schemeClr val="tx1"/>
          </a:solidFill>
          <a:latin typeface="+mn-lt"/>
          <a:ea typeface="+mn-ea"/>
          <a:cs typeface="+mn-cs"/>
        </a:defRPr>
      </a:lvl2pPr>
      <a:lvl3pPr marL="908685" algn="l" defTabSz="908685" rtl="0" eaLnBrk="1" latinLnBrk="0" hangingPunct="1">
        <a:defRPr sz="1789" kern="1200">
          <a:solidFill>
            <a:schemeClr val="tx1"/>
          </a:solidFill>
          <a:latin typeface="+mn-lt"/>
          <a:ea typeface="+mn-ea"/>
          <a:cs typeface="+mn-cs"/>
        </a:defRPr>
      </a:lvl3pPr>
      <a:lvl4pPr marL="1363028" algn="l" defTabSz="908685" rtl="0" eaLnBrk="1" latinLnBrk="0" hangingPunct="1">
        <a:defRPr sz="1789" kern="1200">
          <a:solidFill>
            <a:schemeClr val="tx1"/>
          </a:solidFill>
          <a:latin typeface="+mn-lt"/>
          <a:ea typeface="+mn-ea"/>
          <a:cs typeface="+mn-cs"/>
        </a:defRPr>
      </a:lvl4pPr>
      <a:lvl5pPr marL="1817371" algn="l" defTabSz="908685" rtl="0" eaLnBrk="1" latinLnBrk="0" hangingPunct="1">
        <a:defRPr sz="1789" kern="1200">
          <a:solidFill>
            <a:schemeClr val="tx1"/>
          </a:solidFill>
          <a:latin typeface="+mn-lt"/>
          <a:ea typeface="+mn-ea"/>
          <a:cs typeface="+mn-cs"/>
        </a:defRPr>
      </a:lvl5pPr>
      <a:lvl6pPr marL="2271713" algn="l" defTabSz="908685" rtl="0" eaLnBrk="1" latinLnBrk="0" hangingPunct="1">
        <a:defRPr sz="1789" kern="1200">
          <a:solidFill>
            <a:schemeClr val="tx1"/>
          </a:solidFill>
          <a:latin typeface="+mn-lt"/>
          <a:ea typeface="+mn-ea"/>
          <a:cs typeface="+mn-cs"/>
        </a:defRPr>
      </a:lvl6pPr>
      <a:lvl7pPr marL="2726056" algn="l" defTabSz="908685" rtl="0" eaLnBrk="1" latinLnBrk="0" hangingPunct="1">
        <a:defRPr sz="1789" kern="1200">
          <a:solidFill>
            <a:schemeClr val="tx1"/>
          </a:solidFill>
          <a:latin typeface="+mn-lt"/>
          <a:ea typeface="+mn-ea"/>
          <a:cs typeface="+mn-cs"/>
        </a:defRPr>
      </a:lvl7pPr>
      <a:lvl8pPr marL="3180400" algn="l" defTabSz="908685" rtl="0" eaLnBrk="1" latinLnBrk="0" hangingPunct="1">
        <a:defRPr sz="1789" kern="1200">
          <a:solidFill>
            <a:schemeClr val="tx1"/>
          </a:solidFill>
          <a:latin typeface="+mn-lt"/>
          <a:ea typeface="+mn-ea"/>
          <a:cs typeface="+mn-cs"/>
        </a:defRPr>
      </a:lvl8pPr>
      <a:lvl9pPr marL="3634742" algn="l" defTabSz="908685" rtl="0" eaLnBrk="1" latinLnBrk="0" hangingPunct="1">
        <a:defRPr sz="178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72F4584-A238-F682-7968-31DB59646D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531" y="1634673"/>
            <a:ext cx="3909884" cy="1244465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en-US" sz="2800" dirty="0"/>
              <a:t>RPA </a:t>
            </a:r>
            <a:br>
              <a:rPr lang="en-US" sz="2800" dirty="0"/>
            </a:br>
            <a:r>
              <a:rPr lang="en-US" sz="2800" dirty="0"/>
              <a:t>BPA</a:t>
            </a:r>
            <a:br>
              <a:rPr lang="en-US" sz="2800" dirty="0"/>
            </a:br>
            <a:r>
              <a:rPr lang="en-US" sz="2800" dirty="0"/>
              <a:t>ET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ACDEDB-24E6-2B78-F7E7-515259ADC01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530" y="3059710"/>
            <a:ext cx="4154469" cy="897567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Miguel Martinez Murcia</a:t>
            </a:r>
          </a:p>
          <a:p>
            <a:pPr>
              <a:lnSpc>
                <a:spcPct val="90000"/>
              </a:lnSpc>
            </a:pPr>
            <a:r>
              <a:rPr lang="en-US" dirty="0"/>
              <a:t>Manuel Pinilla Moreno</a:t>
            </a:r>
          </a:p>
          <a:p>
            <a:pPr>
              <a:lnSpc>
                <a:spcPct val="90000"/>
              </a:lnSpc>
            </a:pPr>
            <a:r>
              <a:rPr lang="en-US" dirty="0"/>
              <a:t>Luis Mauricio Ospina 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4743745-B170-2993-92CB-2135631A4E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</p:spPr>
        <p:txBody>
          <a:bodyPr wrap="none" anchor="b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Nokia internal use</a:t>
            </a:r>
          </a:p>
        </p:txBody>
      </p:sp>
    </p:spTree>
    <p:extLst>
      <p:ext uri="{BB962C8B-B14F-4D97-AF65-F5344CB8AC3E}">
        <p14:creationId xmlns:p14="http://schemas.microsoft.com/office/powerpoint/2010/main" val="4140685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CB9F745-D6CA-A392-978E-02822A4EB05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797425"/>
            <a:ext cx="8308800" cy="340654"/>
          </a:xfrm>
        </p:spPr>
        <p:txBody>
          <a:bodyPr/>
          <a:lstStyle/>
          <a:p>
            <a:r>
              <a:rPr lang="en-US" dirty="0"/>
              <a:t>RP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11D8ED-BFA3-A5ED-6AD5-9240F87196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30210" y="223849"/>
            <a:ext cx="8308800" cy="340654"/>
          </a:xfrm>
        </p:spPr>
        <p:txBody>
          <a:bodyPr/>
          <a:lstStyle/>
          <a:p>
            <a:r>
              <a:rPr lang="en-GB" dirty="0"/>
              <a:t>FPC GBS mas </a:t>
            </a:r>
            <a:r>
              <a:rPr lang="es-CO" dirty="0"/>
              <a:t>análisis</a:t>
            </a:r>
            <a:r>
              <a:rPr lang="en-GB" dirty="0"/>
              <a:t> </a:t>
            </a:r>
            <a:r>
              <a:rPr lang="es-CO" dirty="0"/>
              <a:t>menos</a:t>
            </a:r>
            <a:r>
              <a:rPr lang="en-GB" dirty="0"/>
              <a:t> </a:t>
            </a:r>
            <a:r>
              <a:rPr lang="es-CO" dirty="0"/>
              <a:t>operatividad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28E9E3F-1F11-0C94-F2EA-DDB1DABCB8B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71280" y="1371001"/>
            <a:ext cx="8308800" cy="1441355"/>
          </a:xfrm>
        </p:spPr>
        <p:txBody>
          <a:bodyPr/>
          <a:lstStyle/>
          <a:p>
            <a:r>
              <a:rPr lang="es-ES" sz="1400" dirty="0"/>
              <a:t>RPA significa "</a:t>
            </a:r>
            <a:r>
              <a:rPr lang="es-ES" sz="1400" dirty="0" err="1"/>
              <a:t>Robotic</a:t>
            </a:r>
            <a:r>
              <a:rPr lang="es-ES" sz="1400" dirty="0"/>
              <a:t> </a:t>
            </a:r>
            <a:r>
              <a:rPr lang="es-ES" sz="1400" dirty="0" err="1"/>
              <a:t>Process</a:t>
            </a:r>
            <a:r>
              <a:rPr lang="es-ES" sz="1400" dirty="0"/>
              <a:t> </a:t>
            </a:r>
            <a:r>
              <a:rPr lang="es-ES" sz="1400" dirty="0" err="1"/>
              <a:t>Automation</a:t>
            </a:r>
            <a:r>
              <a:rPr lang="es-ES" sz="1400" dirty="0"/>
              <a:t>" (Automatización de Procesos Robóticos) para automatizar tareas repetitivas y basadas en reglas dentro de los procesos empresariales.</a:t>
            </a:r>
          </a:p>
          <a:p>
            <a:endParaRPr lang="es-ES" sz="1400" dirty="0"/>
          </a:p>
          <a:p>
            <a:endParaRPr lang="es-ES" sz="1400" dirty="0"/>
          </a:p>
          <a:p>
            <a:r>
              <a:rPr lang="es-ES" sz="1400" dirty="0"/>
              <a:t> A través de RPA, se pueden diseñar "robots" de software para realizar actividades manuales y repetitivas que antes eran realizadas por seres humanos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EADEBC1-7BE1-4D3C-A655-FE95674B62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Nokia internal use</a:t>
            </a:r>
            <a:endParaRPr lang="en-US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A1DDABFC-E3B2-146A-4CC8-740D82721580}"/>
              </a:ext>
            </a:extLst>
          </p:cNvPr>
          <p:cNvSpPr txBox="1">
            <a:spLocks/>
          </p:cNvSpPr>
          <p:nvPr/>
        </p:nvSpPr>
        <p:spPr>
          <a:xfrm>
            <a:off x="571280" y="2937547"/>
            <a:ext cx="3757361" cy="927522"/>
          </a:xfrm>
          <a:prstGeom prst="rect">
            <a:avLst/>
          </a:prstGeom>
        </p:spPr>
        <p:txBody>
          <a:bodyPr lIns="0" tIns="0" rIns="0" bIns="0"/>
          <a:lstStyle>
            <a:lvl1pPr marL="1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Font typeface="Arial" panose="020B0604020202020204" pitchFamily="34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08000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s-ES" sz="1400" dirty="0"/>
          </a:p>
          <a:p>
            <a:pPr marL="0" indent="0">
              <a:buNone/>
            </a:pPr>
            <a:r>
              <a:rPr lang="es-ES" sz="1400" b="1" dirty="0"/>
              <a:t>Beneficios:</a:t>
            </a:r>
          </a:p>
          <a:p>
            <a:r>
              <a:rPr lang="es-ES" sz="1400" dirty="0"/>
              <a:t>Reducción de errores:</a:t>
            </a:r>
          </a:p>
          <a:p>
            <a:r>
              <a:rPr lang="es-ES" sz="1400" dirty="0"/>
              <a:t>Ahorro de tiempo</a:t>
            </a:r>
          </a:p>
        </p:txBody>
      </p:sp>
    </p:spTree>
    <p:extLst>
      <p:ext uri="{BB962C8B-B14F-4D97-AF65-F5344CB8AC3E}">
        <p14:creationId xmlns:p14="http://schemas.microsoft.com/office/powerpoint/2010/main" val="3065717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CB9F745-D6CA-A392-978E-02822A4EB05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810884"/>
            <a:ext cx="8308800" cy="340654"/>
          </a:xfrm>
        </p:spPr>
        <p:txBody>
          <a:bodyPr/>
          <a:lstStyle/>
          <a:p>
            <a:r>
              <a:rPr lang="en-US" dirty="0"/>
              <a:t>BPA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28E9E3F-1F11-0C94-F2EA-DDB1DABCB8B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0580" y="1382945"/>
            <a:ext cx="7428060" cy="2113290"/>
          </a:xfrm>
        </p:spPr>
        <p:txBody>
          <a:bodyPr/>
          <a:lstStyle/>
          <a:p>
            <a:pPr marL="0" indent="0">
              <a:buNone/>
            </a:pPr>
            <a:r>
              <a:rPr lang="es-ES" sz="1600" dirty="0"/>
              <a:t>BPA (Business </a:t>
            </a:r>
            <a:r>
              <a:rPr lang="es-ES" sz="1600" dirty="0" err="1"/>
              <a:t>Process</a:t>
            </a:r>
            <a:r>
              <a:rPr lang="es-ES" sz="1600" dirty="0"/>
              <a:t> </a:t>
            </a:r>
            <a:r>
              <a:rPr lang="es-ES" sz="1600" dirty="0" err="1"/>
              <a:t>Automation</a:t>
            </a:r>
            <a:r>
              <a:rPr lang="es-ES" sz="1600" dirty="0"/>
              <a:t>) se refiere a la automatización de procesos empresariales completos, incluyendo múltiples tareas y decisiones, con el objetivo de mejorar la eficiencia, la productividad y la calidad en una organización. </a:t>
            </a:r>
          </a:p>
          <a:p>
            <a:pPr marL="0" indent="0">
              <a:buNone/>
            </a:pPr>
            <a:endParaRPr lang="es-ES" sz="1600" dirty="0"/>
          </a:p>
          <a:p>
            <a:pPr marL="0" indent="0">
              <a:buNone/>
            </a:pPr>
            <a:r>
              <a:rPr lang="es-ES" sz="1600" dirty="0"/>
              <a:t>A diferencia de RPA (</a:t>
            </a:r>
            <a:r>
              <a:rPr lang="es-ES" sz="1600" dirty="0" err="1"/>
              <a:t>Robotic</a:t>
            </a:r>
            <a:r>
              <a:rPr lang="es-ES" sz="1600" dirty="0"/>
              <a:t> </a:t>
            </a:r>
            <a:r>
              <a:rPr lang="es-ES" sz="1600" dirty="0" err="1"/>
              <a:t>Process</a:t>
            </a:r>
            <a:r>
              <a:rPr lang="es-ES" sz="1600" dirty="0"/>
              <a:t> </a:t>
            </a:r>
            <a:r>
              <a:rPr lang="es-ES" sz="1600" dirty="0" err="1"/>
              <a:t>Automation</a:t>
            </a:r>
            <a:r>
              <a:rPr lang="es-ES" sz="1600" dirty="0"/>
              <a:t>), que se enfoca en la automatización de tareas específicas y repetitivas, BPA abarca un enfoque más amplio y abarca procesos empresariales </a:t>
            </a:r>
            <a:r>
              <a:rPr lang="es-ES" sz="1600" dirty="0" err="1"/>
              <a:t>end-to-end</a:t>
            </a:r>
            <a:r>
              <a:rPr lang="es-ES" sz="1600" dirty="0"/>
              <a:t>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EADEBC1-7BE1-4D3C-A655-FE95674B62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Nokia internal us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2B88FA-965B-D8F6-8B1F-CADF9EA1189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30210" y="223849"/>
            <a:ext cx="8308800" cy="340654"/>
          </a:xfrm>
        </p:spPr>
        <p:txBody>
          <a:bodyPr/>
          <a:lstStyle/>
          <a:p>
            <a:r>
              <a:rPr lang="en-GB" dirty="0"/>
              <a:t>FPC GBS mas </a:t>
            </a:r>
            <a:r>
              <a:rPr lang="es-CO" dirty="0"/>
              <a:t>análisis</a:t>
            </a:r>
            <a:r>
              <a:rPr lang="en-GB" dirty="0"/>
              <a:t> </a:t>
            </a:r>
            <a:r>
              <a:rPr lang="es-CO" dirty="0"/>
              <a:t>menos</a:t>
            </a:r>
            <a:r>
              <a:rPr lang="en-GB" dirty="0"/>
              <a:t> </a:t>
            </a:r>
            <a:r>
              <a:rPr lang="es-CO" dirty="0"/>
              <a:t>operatividad</a:t>
            </a:r>
          </a:p>
        </p:txBody>
      </p:sp>
    </p:spTree>
    <p:extLst>
      <p:ext uri="{BB962C8B-B14F-4D97-AF65-F5344CB8AC3E}">
        <p14:creationId xmlns:p14="http://schemas.microsoft.com/office/powerpoint/2010/main" val="3232365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CB9F745-D6CA-A392-978E-02822A4EB05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25391" y="736599"/>
            <a:ext cx="8308800" cy="340654"/>
          </a:xfrm>
        </p:spPr>
        <p:txBody>
          <a:bodyPr/>
          <a:lstStyle/>
          <a:p>
            <a:r>
              <a:rPr lang="en-US" dirty="0"/>
              <a:t>ETL GBS FPC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EADEBC1-7BE1-4D3C-A655-FE95674B62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Nokia internal use</a:t>
            </a:r>
            <a:endParaRPr lang="en-US" dirty="0"/>
          </a:p>
        </p:txBody>
      </p:sp>
      <p:pic>
        <p:nvPicPr>
          <p:cNvPr id="1026" name="Picture 2" descr="Extract, transform, and load (ETL) - Azure Architecture Center | Microsoft  Learn">
            <a:extLst>
              <a:ext uri="{FF2B5EF4-FFF2-40B4-BE49-F238E27FC236}">
                <a16:creationId xmlns:a16="http://schemas.microsoft.com/office/drawing/2014/main" id="{FA7B1683-F23E-F275-3F9B-B7F936E7AE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612" y="1257379"/>
            <a:ext cx="6708161" cy="30803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AF84AB-9F5B-C6C8-3314-0885A89489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30210" y="223849"/>
            <a:ext cx="8308800" cy="340654"/>
          </a:xfrm>
        </p:spPr>
        <p:txBody>
          <a:bodyPr/>
          <a:lstStyle/>
          <a:p>
            <a:r>
              <a:rPr lang="en-GB" dirty="0"/>
              <a:t>FPC GBS mas </a:t>
            </a:r>
            <a:r>
              <a:rPr lang="es-CO" dirty="0"/>
              <a:t>análisis</a:t>
            </a:r>
            <a:r>
              <a:rPr lang="en-GB" dirty="0"/>
              <a:t> </a:t>
            </a:r>
            <a:r>
              <a:rPr lang="es-CO" dirty="0"/>
              <a:t>menos</a:t>
            </a:r>
            <a:r>
              <a:rPr lang="en-GB" dirty="0"/>
              <a:t> </a:t>
            </a:r>
            <a:r>
              <a:rPr lang="es-CO" dirty="0"/>
              <a:t>operatividad</a:t>
            </a:r>
          </a:p>
        </p:txBody>
      </p:sp>
    </p:spTree>
    <p:extLst>
      <p:ext uri="{BB962C8B-B14F-4D97-AF65-F5344CB8AC3E}">
        <p14:creationId xmlns:p14="http://schemas.microsoft.com/office/powerpoint/2010/main" val="3957972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8E66E0A-5089-455C-E74C-EEBBDEEF526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726358"/>
            <a:ext cx="8308800" cy="340654"/>
          </a:xfrm>
        </p:spPr>
        <p:txBody>
          <a:bodyPr/>
          <a:lstStyle/>
          <a:p>
            <a:r>
              <a:rPr lang="es-419" dirty="0"/>
              <a:t>Python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674C56-7F75-927F-0C81-3DEBB49CEB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Nokia internal use</a:t>
            </a:r>
            <a:endParaRPr lang="en-US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D99BD14A-7DFB-438F-144A-58CE06560270}"/>
              </a:ext>
            </a:extLst>
          </p:cNvPr>
          <p:cNvSpPr txBox="1">
            <a:spLocks/>
          </p:cNvSpPr>
          <p:nvPr/>
        </p:nvSpPr>
        <p:spPr>
          <a:xfrm>
            <a:off x="618732" y="1352387"/>
            <a:ext cx="5105873" cy="3349319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s-CO" sz="1400" dirty="0">
                <a:solidFill>
                  <a:srgbClr val="001135"/>
                </a:solidFill>
              </a:rPr>
              <a:t>Herramienta utilizada:</a:t>
            </a:r>
          </a:p>
          <a:p>
            <a:r>
              <a:rPr lang="es-CO" sz="1400" dirty="0">
                <a:solidFill>
                  <a:srgbClr val="001135"/>
                </a:solidFill>
              </a:rPr>
              <a:t>Python y Visual Studio</a:t>
            </a:r>
          </a:p>
          <a:p>
            <a:endParaRPr lang="es-CO" sz="1400" dirty="0">
              <a:solidFill>
                <a:srgbClr val="001135"/>
              </a:solidFill>
            </a:endParaRPr>
          </a:p>
          <a:p>
            <a:pPr marL="0" indent="0">
              <a:buNone/>
            </a:pPr>
            <a:r>
              <a:rPr lang="es-CO" sz="1400" dirty="0">
                <a:solidFill>
                  <a:srgbClr val="001135"/>
                </a:solidFill>
              </a:rPr>
              <a:t>Utilidad:</a:t>
            </a:r>
          </a:p>
          <a:p>
            <a:r>
              <a:rPr lang="es-CO" sz="1400" dirty="0">
                <a:solidFill>
                  <a:srgbClr val="001135"/>
                </a:solidFill>
              </a:rPr>
              <a:t>Análisis de grandes cantidades de datos</a:t>
            </a:r>
          </a:p>
          <a:p>
            <a:endParaRPr lang="es-CO" sz="1400" dirty="0">
              <a:solidFill>
                <a:srgbClr val="001135"/>
              </a:solidFill>
            </a:endParaRPr>
          </a:p>
          <a:p>
            <a:pPr marL="0" indent="0">
              <a:buNone/>
            </a:pPr>
            <a:r>
              <a:rPr lang="es-ES" sz="1400" dirty="0">
                <a:solidFill>
                  <a:srgbClr val="001135"/>
                </a:solidFill>
              </a:rPr>
              <a:t>Ventaja de Python respecto a Macro de Excel:</a:t>
            </a:r>
          </a:p>
          <a:p>
            <a:r>
              <a:rPr lang="es-ES" sz="1400" dirty="0">
                <a:solidFill>
                  <a:srgbClr val="001135"/>
                </a:solidFill>
              </a:rPr>
              <a:t>Conexión directa con SAP sin afectar Excel y demás ventanas de SAP</a:t>
            </a:r>
          </a:p>
          <a:p>
            <a:r>
              <a:rPr lang="es-ES" sz="1400" dirty="0">
                <a:solidFill>
                  <a:srgbClr val="001135"/>
                </a:solidFill>
              </a:rPr>
              <a:t>Agiliza el análisis de datos</a:t>
            </a:r>
          </a:p>
          <a:p>
            <a:pPr marL="0" indent="0">
              <a:buNone/>
            </a:pPr>
            <a:endParaRPr lang="es-CO" sz="1400" dirty="0">
              <a:solidFill>
                <a:srgbClr val="001135"/>
              </a:solidFill>
            </a:endParaRPr>
          </a:p>
          <a:p>
            <a:pPr marL="0" indent="0">
              <a:buNone/>
            </a:pPr>
            <a:endParaRPr lang="es-CO" sz="1400" dirty="0">
              <a:solidFill>
                <a:srgbClr val="001135"/>
              </a:solidFill>
            </a:endParaRPr>
          </a:p>
        </p:txBody>
      </p:sp>
      <p:pic>
        <p:nvPicPr>
          <p:cNvPr id="2050" name="Picture 2" descr="Collection of Python Logo PNG. | PlusPNG">
            <a:extLst>
              <a:ext uri="{FF2B5EF4-FFF2-40B4-BE49-F238E27FC236}">
                <a16:creationId xmlns:a16="http://schemas.microsoft.com/office/drawing/2014/main" id="{486088AE-0A1C-15C8-A010-5AB59ECB05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9429" y="1301615"/>
            <a:ext cx="1857855" cy="20616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8376985-0EB9-D22B-617C-86E7112EEF0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30210" y="223849"/>
            <a:ext cx="8308800" cy="340654"/>
          </a:xfrm>
        </p:spPr>
        <p:txBody>
          <a:bodyPr/>
          <a:lstStyle/>
          <a:p>
            <a:r>
              <a:rPr lang="en-GB" dirty="0"/>
              <a:t>FPC GBS mas </a:t>
            </a:r>
            <a:r>
              <a:rPr lang="es-CO" dirty="0"/>
              <a:t>análisis</a:t>
            </a:r>
            <a:r>
              <a:rPr lang="en-GB" dirty="0"/>
              <a:t> </a:t>
            </a:r>
            <a:r>
              <a:rPr lang="es-CO" dirty="0"/>
              <a:t>menos</a:t>
            </a:r>
            <a:r>
              <a:rPr lang="en-GB" dirty="0"/>
              <a:t> </a:t>
            </a:r>
            <a:r>
              <a:rPr lang="es-CO" dirty="0"/>
              <a:t>operatividad</a:t>
            </a:r>
          </a:p>
        </p:txBody>
      </p:sp>
    </p:spTree>
    <p:extLst>
      <p:ext uri="{BB962C8B-B14F-4D97-AF65-F5344CB8AC3E}">
        <p14:creationId xmlns:p14="http://schemas.microsoft.com/office/powerpoint/2010/main" val="18521006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47A4391-D574-4FDE-3ADA-043E243D817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56127" y="657772"/>
            <a:ext cx="8308800" cy="340654"/>
          </a:xfrm>
        </p:spPr>
        <p:txBody>
          <a:bodyPr/>
          <a:lstStyle/>
          <a:p>
            <a:r>
              <a:rPr lang="es-CO" dirty="0"/>
              <a:t>RPA Aplicados a Nokia mediante Pyth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10C0821-CB3B-DC3C-30E5-2914BA48CDA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87995" y="1390278"/>
            <a:ext cx="3524572" cy="3349319"/>
          </a:xfrm>
        </p:spPr>
        <p:txBody>
          <a:bodyPr/>
          <a:lstStyle/>
          <a:p>
            <a:pPr marL="0" indent="0">
              <a:buNone/>
            </a:pPr>
            <a:endParaRPr lang="es-CO" sz="1400" dirty="0"/>
          </a:p>
          <a:p>
            <a:pPr marL="0" indent="0">
              <a:buNone/>
            </a:pPr>
            <a:r>
              <a:rPr lang="es-CO" sz="1400" dirty="0"/>
              <a:t>Done:</a:t>
            </a:r>
          </a:p>
          <a:p>
            <a:r>
              <a:rPr lang="es-CO" sz="1400" dirty="0"/>
              <a:t>SULOS</a:t>
            </a:r>
          </a:p>
          <a:p>
            <a:r>
              <a:rPr lang="es-CO" sz="1400" dirty="0"/>
              <a:t>Reporte YRA2</a:t>
            </a:r>
          </a:p>
          <a:p>
            <a:r>
              <a:rPr lang="es-CO" sz="1400" dirty="0"/>
              <a:t>WIP Canadá</a:t>
            </a:r>
          </a:p>
          <a:p>
            <a:endParaRPr lang="es-CO" sz="1400" dirty="0"/>
          </a:p>
          <a:p>
            <a:pPr marL="0" indent="0">
              <a:buNone/>
            </a:pPr>
            <a:r>
              <a:rPr lang="es-CO" sz="1400" dirty="0"/>
              <a:t>En proceso</a:t>
            </a:r>
          </a:p>
          <a:p>
            <a:r>
              <a:rPr lang="es-CO" sz="1400" dirty="0"/>
              <a:t>OBL</a:t>
            </a:r>
          </a:p>
          <a:p>
            <a:endParaRPr lang="es-CO" sz="180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C922857-0EDA-2AAC-4782-E01E5001B0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Nokia internal use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13EA563-B6BA-146F-36E1-348BDAE5CE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78740" y="1271319"/>
            <a:ext cx="2421528" cy="3648436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6C3A92A1-E27F-3E3E-5C20-B38D917657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71646" y="1263561"/>
            <a:ext cx="2400372" cy="28815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BD572294-2A26-A095-DA52-7E914EC3B19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30210" y="223849"/>
            <a:ext cx="8308800" cy="340654"/>
          </a:xfrm>
        </p:spPr>
        <p:txBody>
          <a:bodyPr/>
          <a:lstStyle/>
          <a:p>
            <a:r>
              <a:rPr lang="en-GB" dirty="0"/>
              <a:t>FPC GBS mas </a:t>
            </a:r>
            <a:r>
              <a:rPr lang="es-CO" dirty="0"/>
              <a:t>análisis</a:t>
            </a:r>
            <a:r>
              <a:rPr lang="en-GB" dirty="0"/>
              <a:t> </a:t>
            </a:r>
            <a:r>
              <a:rPr lang="es-CO" dirty="0"/>
              <a:t>menos</a:t>
            </a:r>
            <a:r>
              <a:rPr lang="en-GB" dirty="0"/>
              <a:t> </a:t>
            </a:r>
            <a:r>
              <a:rPr lang="es-CO" dirty="0"/>
              <a:t>operatividad</a:t>
            </a:r>
          </a:p>
        </p:txBody>
      </p:sp>
    </p:spTree>
    <p:extLst>
      <p:ext uri="{BB962C8B-B14F-4D97-AF65-F5344CB8AC3E}">
        <p14:creationId xmlns:p14="http://schemas.microsoft.com/office/powerpoint/2010/main" val="24049258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33592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. Master">
  <a:themeElements>
    <a:clrScheme name="Nokia 2023.1">
      <a:dk1>
        <a:srgbClr val="CCCCCC"/>
      </a:dk1>
      <a:lt1>
        <a:srgbClr val="FFFFFF"/>
      </a:lt1>
      <a:dk2>
        <a:srgbClr val="001135"/>
      </a:dk2>
      <a:lt2>
        <a:srgbClr val="666666"/>
      </a:lt2>
      <a:accent1>
        <a:srgbClr val="005AFF"/>
      </a:accent1>
      <a:accent2>
        <a:srgbClr val="23ABB6"/>
      </a:accent2>
      <a:accent3>
        <a:srgbClr val="37CC73"/>
      </a:accent3>
      <a:accent4>
        <a:srgbClr val="F47F31"/>
      </a:accent4>
      <a:accent5>
        <a:srgbClr val="E03DCD"/>
      </a:accent5>
      <a:accent6>
        <a:srgbClr val="7D33F2"/>
      </a:accent6>
      <a:hlink>
        <a:srgbClr val="001135"/>
      </a:hlink>
      <a:folHlink>
        <a:srgbClr val="005AFF"/>
      </a:folHlink>
    </a:clrScheme>
    <a:fontScheme name="Nokia 2023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spcAft>
            <a:spcPts val="300"/>
          </a:spcAft>
          <a:buSzPct val="100000"/>
          <a:defRPr sz="1200" dirty="0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noAutofit/>
      </a:bodyPr>
      <a:lstStyle>
        <a:defPPr marL="0" marR="0" indent="0" algn="l" defTabSz="180000" rtl="0" eaLnBrk="1" fontAlgn="auto" latinLnBrk="0" hangingPunct="1">
          <a:lnSpc>
            <a:spcPct val="100000"/>
          </a:lnSpc>
          <a:spcBef>
            <a:spcPts val="0"/>
          </a:spcBef>
          <a:spcAft>
            <a:spcPts val="300"/>
          </a:spcAft>
          <a:buClrTx/>
          <a:buSzTx/>
          <a:buFont typeface="+mj-lt"/>
          <a:buNone/>
          <a:tabLst>
            <a:tab pos="180000" algn="l"/>
          </a:tabLst>
          <a:defRPr kumimoji="0" sz="1200" b="0" i="0" u="none" strike="noStrike" kern="1200" cap="none" spc="0" normalizeH="0" baseline="0" noProof="0" dirty="0" smtClean="0">
            <a:ln>
              <a:noFill/>
            </a:ln>
            <a:solidFill>
              <a:schemeClr val="tx2"/>
            </a:solidFill>
            <a:effectLst/>
            <a:uLnTx/>
            <a:uFillTx/>
            <a:latin typeface="Nokia Pure Text Light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kia 2023 - PowerPoint template v1.3.1" id="{95EDE8F7-58AB-440A-82AC-4DC9E39A292C}" vid="{533A05BB-4D65-4753-8F51-029C8738C22F}"/>
    </a:ext>
  </a:extLst>
</a:theme>
</file>

<file path=ppt/theme/theme2.xml><?xml version="1.0" encoding="utf-8"?>
<a:theme xmlns:a="http://schemas.openxmlformats.org/drawingml/2006/main" name="1. White master">
  <a:themeElements>
    <a:clrScheme name="C 2018 Nokia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124191"/>
      </a:hlink>
      <a:folHlink>
        <a:srgbClr val="001135"/>
      </a:folHlink>
    </a:clrScheme>
    <a:fontScheme name="Nokia 2018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spcAft>
            <a:spcPts val="300"/>
          </a:spcAft>
          <a:buSzPct val="100000"/>
          <a:defRPr sz="12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>
        <a:noAutofit/>
      </a:bodyPr>
      <a:lstStyle>
        <a:defPPr algn="l">
          <a:spcAft>
            <a:spcPts val="300"/>
          </a:spcAft>
          <a:buSzPct val="100000"/>
          <a:defRPr sz="120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B4A126FF-C6CE-4A69-B5C5-BC11574908D1}" vid="{4E46BE80-07DA-49CD-8549-587C898E8144}"/>
    </a:ext>
  </a:extLst>
</a:theme>
</file>

<file path=ppt/theme/theme3.xml><?xml version="1.0" encoding="utf-8"?>
<a:theme xmlns:a="http://schemas.openxmlformats.org/drawingml/2006/main" name="2_Nokia White Master with headline">
  <a:themeElements>
    <a:clrScheme name="Nokia April 2016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2016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Civic">
      <a:fillStyleLst>
        <a:solidFill>
          <a:schemeClr val="phClr"/>
        </a:solidFill>
        <a:solidFill>
          <a:schemeClr val="phClr">
            <a:tint val="45000"/>
          </a:schemeClr>
        </a:solidFill>
        <a:solidFill>
          <a:schemeClr val="phClr">
            <a:tint val="95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1429" cap="flat" cmpd="sng" algn="ctr">
          <a:solidFill>
            <a:schemeClr val="phClr"/>
          </a:solidFill>
          <a:prstDash val="sysDash"/>
        </a:ln>
        <a:ln w="200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contourW="9525" prstMaterial="matte">
            <a:bevelT w="0" h="0"/>
            <a:contourClr>
              <a:schemeClr val="phClr">
                <a:shade val="70000"/>
                <a:satMod val="105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soft" dir="b">
              <a:rot lat="0" lon="0" rev="0"/>
            </a:lightRig>
          </a:scene3d>
          <a:sp3d prstMaterial="dkEdge">
            <a:bevelT w="63500" h="63500" prst="cross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>
            <a:lumMod val="20000"/>
            <a:lumOff val="80000"/>
          </a:schemeClr>
        </a:solidFill>
        <a:ln w="3175">
          <a:noFill/>
          <a:prstDash val="solid"/>
        </a:ln>
      </a:spPr>
      <a:bodyPr rot="0" spcFirstLastPara="0" vertOverflow="overflow" horzOverflow="overflow" vert="horz" wrap="square" lIns="90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lnSpc>
            <a:spcPct val="90000"/>
          </a:lnSpc>
          <a:spcAft>
            <a:spcPts val="600"/>
          </a:spcAft>
          <a:defRPr sz="1200" dirty="0" smtClean="0">
            <a:solidFill>
              <a:schemeClr val="tx2"/>
            </a:solidFill>
            <a:latin typeface="+mj-lt"/>
            <a:ea typeface="Nokia Pure Text Light" panose="020B0403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algn="l" fontAlgn="auto">
          <a:lnSpc>
            <a:spcPct val="90000"/>
          </a:lnSpc>
          <a:spcAft>
            <a:spcPts val="600"/>
          </a:spcAft>
          <a:defRPr sz="1600" dirty="0">
            <a:solidFill>
              <a:sysClr val="windowText" lastClr="000000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kia Pure PowerPoint.potx" id="{6205CDBA-22D6-4D7B-AFCF-904B849D1A79}" vid="{4B5F5FB7-7E9B-4B8B-941F-65FF29DB7DBE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Nokia 2023 - PowerPoint template v1.3.1</Template>
  <TotalTime>0</TotalTime>
  <Words>261</Words>
  <Application>Microsoft Office PowerPoint</Application>
  <PresentationFormat>On-screen Show (16:9)</PresentationFormat>
  <Paragraphs>48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7" baseType="lpstr">
      <vt:lpstr>Arial</vt:lpstr>
      <vt:lpstr>Calibri</vt:lpstr>
      <vt:lpstr>Nokia Pure Headline Light</vt:lpstr>
      <vt:lpstr>Nokia Pure Headline Ultra Light</vt:lpstr>
      <vt:lpstr>Nokia Pure Text</vt:lpstr>
      <vt:lpstr>Nokia Pure Text Light</vt:lpstr>
      <vt:lpstr>1. Master</vt:lpstr>
      <vt:lpstr>1. White master</vt:lpstr>
      <vt:lpstr>2_Nokia White Master with headline</vt:lpstr>
      <vt:lpstr>think-cell Slide</vt:lpstr>
      <vt:lpstr>RPA  BPA ETL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dcterms:created xsi:type="dcterms:W3CDTF">2023-02-07T12:57:47Z</dcterms:created>
  <dcterms:modified xsi:type="dcterms:W3CDTF">2023-05-24T15:27:30Z</dcterms:modified>
  <cp:category/>
</cp:coreProperties>
</file>